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8" r:id="rId4"/>
    <p:sldMasterId id="2147483721" r:id="rId5"/>
    <p:sldMasterId id="2147483737" r:id="rId6"/>
    <p:sldMasterId id="2147483756" r:id="rId7"/>
  </p:sldMasterIdLst>
  <p:notesMasterIdLst>
    <p:notesMasterId r:id="rId33"/>
  </p:notesMasterIdLst>
  <p:sldIdLst>
    <p:sldId id="2147481731" r:id="rId8"/>
    <p:sldId id="2147481688" r:id="rId9"/>
    <p:sldId id="2147481930" r:id="rId10"/>
    <p:sldId id="2147481978" r:id="rId11"/>
    <p:sldId id="2147481929" r:id="rId12"/>
    <p:sldId id="2147481973" r:id="rId13"/>
    <p:sldId id="2147481931" r:id="rId14"/>
    <p:sldId id="2147481975" r:id="rId15"/>
    <p:sldId id="2147481932" r:id="rId16"/>
    <p:sldId id="2147481933" r:id="rId17"/>
    <p:sldId id="2147481964" r:id="rId18"/>
    <p:sldId id="2147481970" r:id="rId19"/>
    <p:sldId id="2147481969" r:id="rId20"/>
    <p:sldId id="2147481937" r:id="rId21"/>
    <p:sldId id="2147481935" r:id="rId22"/>
    <p:sldId id="2147481989" r:id="rId23"/>
    <p:sldId id="2147481983" r:id="rId24"/>
    <p:sldId id="2147481984" r:id="rId25"/>
    <p:sldId id="2147481974" r:id="rId26"/>
    <p:sldId id="2147481979" r:id="rId27"/>
    <p:sldId id="2147481988" r:id="rId28"/>
    <p:sldId id="2147481942" r:id="rId29"/>
    <p:sldId id="2147481990" r:id="rId30"/>
    <p:sldId id="2147481991" r:id="rId31"/>
    <p:sldId id="2147481784" r:id="rId32"/>
  </p:sldIdLst>
  <p:sldSz cx="12192000" cy="6858000"/>
  <p:notesSz cx="6797675" cy="9928225"/>
  <p:embeddedFontLst>
    <p:embeddedFont>
      <p:font typeface="Effra" panose="020B0604020202020204" charset="0"/>
      <p:regular r:id="rId34"/>
      <p:bold r:id="rId35"/>
      <p:italic r:id="rId36"/>
      <p:boldItalic r:id="rId37"/>
    </p:embeddedFont>
    <p:embeddedFont>
      <p:font typeface="Greta Arabic Light" panose="020B0604020202020204" charset="0"/>
      <p:regular r:id="rId38"/>
    </p:embeddedFont>
    <p:embeddedFont>
      <p:font typeface="HRSD" panose="02000906030000020004" pitchFamily="2" charset="-78"/>
      <p:regular r:id="rId39"/>
    </p:embeddedFont>
    <p:embeddedFont>
      <p:font typeface="Sakkal Majalla" panose="02000000000000000000" pitchFamily="2" charset="-78"/>
      <p:regular r:id="rId40"/>
      <p:bold r:id="rId41"/>
    </p:embeddedFont>
    <p:embeddedFont>
      <p:font typeface="TT Norms Bold" panose="020B0604020202020204" charset="0"/>
      <p:bold r:id="rId42"/>
    </p:embeddedFont>
  </p:embeddedFontLst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FD83F9F-6B01-48AB-FDD2-D7767793E524}" name="Ahmad AlSaif" initials="AA" userId="S::A.AlSaif@takamol.com.sa::237ce9f7-7dfe-4bb9-aeb5-92397c7b1bc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4258"/>
    <a:srgbClr val="2BB473"/>
    <a:srgbClr val="158284"/>
    <a:srgbClr val="68AEAF"/>
    <a:srgbClr val="F7941D"/>
    <a:srgbClr val="F2F2F2"/>
    <a:srgbClr val="BDE0F1"/>
    <a:srgbClr val="83A6B7"/>
    <a:srgbClr val="0E314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83" autoAdjust="0"/>
    <p:restoredTop sz="94657" autoAdjust="0"/>
  </p:normalViewPr>
  <p:slideViewPr>
    <p:cSldViewPr snapToGrid="0">
      <p:cViewPr varScale="1">
        <p:scale>
          <a:sx n="70" d="100"/>
          <a:sy n="70" d="100"/>
        </p:scale>
        <p:origin x="668" y="8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6.fntdata"/><Relationship Id="rId21" Type="http://schemas.openxmlformats.org/officeDocument/2006/relationships/slide" Target="slides/slide14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3.fntdata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font" Target="fonts/font2.fntdata"/><Relationship Id="rId43" Type="http://schemas.openxmlformats.org/officeDocument/2006/relationships/tags" Target="tags/tag1.xml"/><Relationship Id="rId48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46" Type="http://schemas.openxmlformats.org/officeDocument/2006/relationships/theme" Target="theme/theme1.xml"/><Relationship Id="rId20" Type="http://schemas.openxmlformats.org/officeDocument/2006/relationships/slide" Target="slides/slide13.xml"/><Relationship Id="rId41" Type="http://schemas.openxmlformats.org/officeDocument/2006/relationships/font" Target="fonts/font8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0A88485-D0DF-473E-8132-A5CF341CD472}" type="datetimeFigureOut">
              <a:rPr lang="en-US" smtClean="0"/>
              <a:t>2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3004DFC-E7D8-43A3-BEFE-020CD689FC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9295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004DFC-E7D8-43A3-BEFE-020CD689FC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6911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6.em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6" Type="http://schemas.openxmlformats.org/officeDocument/2006/relationships/image" Target="../media/image6.emf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emf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emf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em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6.emf"/><Relationship Id="rId5" Type="http://schemas.openxmlformats.org/officeDocument/2006/relationships/image" Target="../media/image7.png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0491B8-38DE-4FA2-8957-33FF29D55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17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0491B8-38DE-4FA2-8957-33FF29D55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991CC9EB-9D06-48D6-8402-944DC96C653F}"/>
              </a:ext>
            </a:extLst>
          </p:cNvPr>
          <p:cNvGrpSpPr/>
          <p:nvPr userDrawn="1"/>
        </p:nvGrpSpPr>
        <p:grpSpPr>
          <a:xfrm>
            <a:off x="3398598" y="-1536970"/>
            <a:ext cx="9844392" cy="11069069"/>
            <a:chOff x="4512736" y="3375693"/>
            <a:chExt cx="1383042" cy="1468557"/>
          </a:xfrm>
        </p:grpSpPr>
        <p:sp>
          <p:nvSpPr>
            <p:cNvPr id="24" name="Rectangle: Single Corner Rounded 2">
              <a:extLst>
                <a:ext uri="{FF2B5EF4-FFF2-40B4-BE49-F238E27FC236}">
                  <a16:creationId xmlns:a16="http://schemas.microsoft.com/office/drawing/2014/main" id="{8A5A5BAB-E583-4D8C-A18F-61B632CA1A02}"/>
                </a:ext>
              </a:extLst>
            </p:cNvPr>
            <p:cNvSpPr/>
            <p:nvPr userDrawn="1"/>
          </p:nvSpPr>
          <p:spPr>
            <a:xfrm rot="20207831">
              <a:off x="4512736" y="4014500"/>
              <a:ext cx="672511" cy="829750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11" h="829750">
                  <a:moveTo>
                    <a:pt x="0" y="25688"/>
                  </a:moveTo>
                  <a:cubicBezTo>
                    <a:pt x="102658" y="-593"/>
                    <a:pt x="289453" y="-47513"/>
                    <a:pt x="527049" y="132580"/>
                  </a:cubicBezTo>
                  <a:cubicBezTo>
                    <a:pt x="712787" y="402278"/>
                    <a:pt x="668336" y="686264"/>
                    <a:pt x="666749" y="728950"/>
                  </a:cubicBezTo>
                  <a:cubicBezTo>
                    <a:pt x="654578" y="756467"/>
                    <a:pt x="516996" y="853834"/>
                    <a:pt x="428625" y="824200"/>
                  </a:cubicBezTo>
                  <a:cubicBezTo>
                    <a:pt x="369888" y="559617"/>
                    <a:pt x="317500" y="220421"/>
                    <a:pt x="0" y="25688"/>
                  </a:cubicBezTo>
                  <a:close/>
                </a:path>
              </a:pathLst>
            </a:custGeom>
            <a:solidFill>
              <a:srgbClr val="0182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5" name="Rectangle: Single Corner Rounded 2">
              <a:extLst>
                <a:ext uri="{FF2B5EF4-FFF2-40B4-BE49-F238E27FC236}">
                  <a16:creationId xmlns:a16="http://schemas.microsoft.com/office/drawing/2014/main" id="{462680BC-4DB0-46DA-8462-61DF4667D1F3}"/>
                </a:ext>
              </a:extLst>
            </p:cNvPr>
            <p:cNvSpPr/>
            <p:nvPr userDrawn="1"/>
          </p:nvSpPr>
          <p:spPr>
            <a:xfrm>
              <a:off x="4523851" y="3957350"/>
              <a:ext cx="672511" cy="829750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11" h="829750">
                  <a:moveTo>
                    <a:pt x="0" y="25688"/>
                  </a:moveTo>
                  <a:cubicBezTo>
                    <a:pt x="102658" y="-593"/>
                    <a:pt x="289453" y="-47513"/>
                    <a:pt x="527049" y="132580"/>
                  </a:cubicBezTo>
                  <a:cubicBezTo>
                    <a:pt x="712787" y="402278"/>
                    <a:pt x="668336" y="686264"/>
                    <a:pt x="666749" y="728950"/>
                  </a:cubicBezTo>
                  <a:cubicBezTo>
                    <a:pt x="654578" y="756467"/>
                    <a:pt x="516996" y="853834"/>
                    <a:pt x="428625" y="824200"/>
                  </a:cubicBezTo>
                  <a:cubicBezTo>
                    <a:pt x="369888" y="559617"/>
                    <a:pt x="317500" y="220421"/>
                    <a:pt x="0" y="25688"/>
                  </a:cubicBezTo>
                  <a:close/>
                </a:path>
              </a:pathLst>
            </a:custGeom>
            <a:solidFill>
              <a:srgbClr val="145F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6" name="Rectangle: Single Corner Rounded 2">
              <a:extLst>
                <a:ext uri="{FF2B5EF4-FFF2-40B4-BE49-F238E27FC236}">
                  <a16:creationId xmlns:a16="http://schemas.microsoft.com/office/drawing/2014/main" id="{27634AF4-FFCC-4C83-B150-ECD5E5A74A9A}"/>
                </a:ext>
              </a:extLst>
            </p:cNvPr>
            <p:cNvSpPr/>
            <p:nvPr userDrawn="1"/>
          </p:nvSpPr>
          <p:spPr>
            <a:xfrm rot="1241782" flipH="1">
              <a:off x="5174384" y="3375693"/>
              <a:ext cx="721394" cy="1310067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  <a:gd name="connsiteX0" fmla="*/ 0 w 767180"/>
                <a:gd name="connsiteY0" fmla="*/ 3491 h 979425"/>
                <a:gd name="connsiteX1" fmla="*/ 621718 w 767180"/>
                <a:gd name="connsiteY1" fmla="*/ 282255 h 979425"/>
                <a:gd name="connsiteX2" fmla="*/ 761418 w 767180"/>
                <a:gd name="connsiteY2" fmla="*/ 878625 h 979425"/>
                <a:gd name="connsiteX3" fmla="*/ 523294 w 767180"/>
                <a:gd name="connsiteY3" fmla="*/ 973875 h 979425"/>
                <a:gd name="connsiteX4" fmla="*/ 0 w 767180"/>
                <a:gd name="connsiteY4" fmla="*/ 3491 h 979425"/>
                <a:gd name="connsiteX0" fmla="*/ 0 w 767180"/>
                <a:gd name="connsiteY0" fmla="*/ 3491 h 1318717"/>
                <a:gd name="connsiteX1" fmla="*/ 621718 w 767180"/>
                <a:gd name="connsiteY1" fmla="*/ 282255 h 1318717"/>
                <a:gd name="connsiteX2" fmla="*/ 761418 w 767180"/>
                <a:gd name="connsiteY2" fmla="*/ 878625 h 1318717"/>
                <a:gd name="connsiteX3" fmla="*/ 547197 w 767180"/>
                <a:gd name="connsiteY3" fmla="*/ 1317288 h 1318717"/>
                <a:gd name="connsiteX4" fmla="*/ 0 w 767180"/>
                <a:gd name="connsiteY4" fmla="*/ 3491 h 1318717"/>
                <a:gd name="connsiteX0" fmla="*/ 0 w 767180"/>
                <a:gd name="connsiteY0" fmla="*/ 3491 h 1318717"/>
                <a:gd name="connsiteX1" fmla="*/ 621718 w 767180"/>
                <a:gd name="connsiteY1" fmla="*/ 282255 h 1318717"/>
                <a:gd name="connsiteX2" fmla="*/ 761418 w 767180"/>
                <a:gd name="connsiteY2" fmla="*/ 878625 h 1318717"/>
                <a:gd name="connsiteX3" fmla="*/ 547197 w 767180"/>
                <a:gd name="connsiteY3" fmla="*/ 1317288 h 1318717"/>
                <a:gd name="connsiteX4" fmla="*/ 0 w 767180"/>
                <a:gd name="connsiteY4" fmla="*/ 3491 h 1318717"/>
                <a:gd name="connsiteX0" fmla="*/ 0 w 762767"/>
                <a:gd name="connsiteY0" fmla="*/ 2588 h 1317814"/>
                <a:gd name="connsiteX1" fmla="*/ 597081 w 762767"/>
                <a:gd name="connsiteY1" fmla="*/ 334814 h 1317814"/>
                <a:gd name="connsiteX2" fmla="*/ 761418 w 762767"/>
                <a:gd name="connsiteY2" fmla="*/ 877722 h 1317814"/>
                <a:gd name="connsiteX3" fmla="*/ 547197 w 762767"/>
                <a:gd name="connsiteY3" fmla="*/ 1316385 h 1317814"/>
                <a:gd name="connsiteX4" fmla="*/ 0 w 762767"/>
                <a:gd name="connsiteY4" fmla="*/ 2588 h 1317814"/>
                <a:gd name="connsiteX0" fmla="*/ 0 w 884929"/>
                <a:gd name="connsiteY0" fmla="*/ 2588 h 1317624"/>
                <a:gd name="connsiteX1" fmla="*/ 597081 w 884929"/>
                <a:gd name="connsiteY1" fmla="*/ 334814 h 1317624"/>
                <a:gd name="connsiteX2" fmla="*/ 884913 w 884929"/>
                <a:gd name="connsiteY2" fmla="*/ 807364 h 1317624"/>
                <a:gd name="connsiteX3" fmla="*/ 547197 w 884929"/>
                <a:gd name="connsiteY3" fmla="*/ 1316385 h 1317624"/>
                <a:gd name="connsiteX4" fmla="*/ 0 w 884929"/>
                <a:gd name="connsiteY4" fmla="*/ 2588 h 1317624"/>
                <a:gd name="connsiteX0" fmla="*/ 0 w 884930"/>
                <a:gd name="connsiteY0" fmla="*/ 2588 h 1318360"/>
                <a:gd name="connsiteX1" fmla="*/ 597081 w 884930"/>
                <a:gd name="connsiteY1" fmla="*/ 334814 h 1318360"/>
                <a:gd name="connsiteX2" fmla="*/ 884913 w 884930"/>
                <a:gd name="connsiteY2" fmla="*/ 807364 h 1318360"/>
                <a:gd name="connsiteX3" fmla="*/ 547197 w 884930"/>
                <a:gd name="connsiteY3" fmla="*/ 1316385 h 1318360"/>
                <a:gd name="connsiteX4" fmla="*/ 0 w 884930"/>
                <a:gd name="connsiteY4" fmla="*/ 2588 h 1318360"/>
                <a:gd name="connsiteX0" fmla="*/ 0 w 886420"/>
                <a:gd name="connsiteY0" fmla="*/ 2588 h 1318571"/>
                <a:gd name="connsiteX1" fmla="*/ 597081 w 886420"/>
                <a:gd name="connsiteY1" fmla="*/ 334814 h 1318571"/>
                <a:gd name="connsiteX2" fmla="*/ 886403 w 886420"/>
                <a:gd name="connsiteY2" fmla="*/ 840069 h 1318571"/>
                <a:gd name="connsiteX3" fmla="*/ 547197 w 886420"/>
                <a:gd name="connsiteY3" fmla="*/ 1316385 h 1318571"/>
                <a:gd name="connsiteX4" fmla="*/ 0 w 886420"/>
                <a:gd name="connsiteY4" fmla="*/ 2588 h 1318571"/>
                <a:gd name="connsiteX0" fmla="*/ 0 w 886420"/>
                <a:gd name="connsiteY0" fmla="*/ 2588 h 1316385"/>
                <a:gd name="connsiteX1" fmla="*/ 597081 w 886420"/>
                <a:gd name="connsiteY1" fmla="*/ 334814 h 1316385"/>
                <a:gd name="connsiteX2" fmla="*/ 886403 w 886420"/>
                <a:gd name="connsiteY2" fmla="*/ 840069 h 1316385"/>
                <a:gd name="connsiteX3" fmla="*/ 547197 w 886420"/>
                <a:gd name="connsiteY3" fmla="*/ 1316385 h 1316385"/>
                <a:gd name="connsiteX4" fmla="*/ 0 w 886420"/>
                <a:gd name="connsiteY4" fmla="*/ 2588 h 1316385"/>
                <a:gd name="connsiteX0" fmla="*/ 0 w 886422"/>
                <a:gd name="connsiteY0" fmla="*/ 2271 h 1316068"/>
                <a:gd name="connsiteX1" fmla="*/ 606740 w 886422"/>
                <a:gd name="connsiteY1" fmla="*/ 362943 h 1316068"/>
                <a:gd name="connsiteX2" fmla="*/ 886403 w 886422"/>
                <a:gd name="connsiteY2" fmla="*/ 839752 h 1316068"/>
                <a:gd name="connsiteX3" fmla="*/ 547197 w 886422"/>
                <a:gd name="connsiteY3" fmla="*/ 1316068 h 1316068"/>
                <a:gd name="connsiteX4" fmla="*/ 0 w 886422"/>
                <a:gd name="connsiteY4" fmla="*/ 2271 h 1316068"/>
                <a:gd name="connsiteX0" fmla="*/ 0 w 886422"/>
                <a:gd name="connsiteY0" fmla="*/ 2741 h 1316538"/>
                <a:gd name="connsiteX1" fmla="*/ 606740 w 886422"/>
                <a:gd name="connsiteY1" fmla="*/ 363413 h 1316538"/>
                <a:gd name="connsiteX2" fmla="*/ 886403 w 886422"/>
                <a:gd name="connsiteY2" fmla="*/ 840222 h 1316538"/>
                <a:gd name="connsiteX3" fmla="*/ 547197 w 886422"/>
                <a:gd name="connsiteY3" fmla="*/ 1316538 h 1316538"/>
                <a:gd name="connsiteX4" fmla="*/ 0 w 886422"/>
                <a:gd name="connsiteY4" fmla="*/ 2741 h 1316538"/>
                <a:gd name="connsiteX0" fmla="*/ 0 w 886446"/>
                <a:gd name="connsiteY0" fmla="*/ 2741 h 1316538"/>
                <a:gd name="connsiteX1" fmla="*/ 606740 w 886446"/>
                <a:gd name="connsiteY1" fmla="*/ 363413 h 1316538"/>
                <a:gd name="connsiteX2" fmla="*/ 886403 w 886446"/>
                <a:gd name="connsiteY2" fmla="*/ 840222 h 1316538"/>
                <a:gd name="connsiteX3" fmla="*/ 547197 w 886446"/>
                <a:gd name="connsiteY3" fmla="*/ 1316538 h 1316538"/>
                <a:gd name="connsiteX4" fmla="*/ 0 w 886446"/>
                <a:gd name="connsiteY4" fmla="*/ 2741 h 1316538"/>
                <a:gd name="connsiteX0" fmla="*/ 0 w 886447"/>
                <a:gd name="connsiteY0" fmla="*/ 2741 h 1316538"/>
                <a:gd name="connsiteX1" fmla="*/ 606740 w 886447"/>
                <a:gd name="connsiteY1" fmla="*/ 363413 h 1316538"/>
                <a:gd name="connsiteX2" fmla="*/ 886403 w 886447"/>
                <a:gd name="connsiteY2" fmla="*/ 840222 h 1316538"/>
                <a:gd name="connsiteX3" fmla="*/ 547197 w 886447"/>
                <a:gd name="connsiteY3" fmla="*/ 1316538 h 1316538"/>
                <a:gd name="connsiteX4" fmla="*/ 0 w 886447"/>
                <a:gd name="connsiteY4" fmla="*/ 2741 h 1316538"/>
                <a:gd name="connsiteX0" fmla="*/ 0 w 886447"/>
                <a:gd name="connsiteY0" fmla="*/ 2741 h 1316538"/>
                <a:gd name="connsiteX1" fmla="*/ 606740 w 886447"/>
                <a:gd name="connsiteY1" fmla="*/ 363413 h 1316538"/>
                <a:gd name="connsiteX2" fmla="*/ 886403 w 886447"/>
                <a:gd name="connsiteY2" fmla="*/ 840222 h 1316538"/>
                <a:gd name="connsiteX3" fmla="*/ 547197 w 886447"/>
                <a:gd name="connsiteY3" fmla="*/ 1316538 h 1316538"/>
                <a:gd name="connsiteX4" fmla="*/ 0 w 886447"/>
                <a:gd name="connsiteY4" fmla="*/ 2741 h 1316538"/>
                <a:gd name="connsiteX0" fmla="*/ 0 w 879886"/>
                <a:gd name="connsiteY0" fmla="*/ 2795 h 1312862"/>
                <a:gd name="connsiteX1" fmla="*/ 600179 w 879886"/>
                <a:gd name="connsiteY1" fmla="*/ 359737 h 1312862"/>
                <a:gd name="connsiteX2" fmla="*/ 879842 w 879886"/>
                <a:gd name="connsiteY2" fmla="*/ 836546 h 1312862"/>
                <a:gd name="connsiteX3" fmla="*/ 540636 w 879886"/>
                <a:gd name="connsiteY3" fmla="*/ 1312862 h 1312862"/>
                <a:gd name="connsiteX4" fmla="*/ 0 w 879886"/>
                <a:gd name="connsiteY4" fmla="*/ 2795 h 1312862"/>
                <a:gd name="connsiteX0" fmla="*/ 0 w 879886"/>
                <a:gd name="connsiteY0" fmla="*/ 2795 h 1312862"/>
                <a:gd name="connsiteX1" fmla="*/ 600179 w 879886"/>
                <a:gd name="connsiteY1" fmla="*/ 359737 h 1312862"/>
                <a:gd name="connsiteX2" fmla="*/ 879842 w 879886"/>
                <a:gd name="connsiteY2" fmla="*/ 836546 h 1312862"/>
                <a:gd name="connsiteX3" fmla="*/ 540636 w 879886"/>
                <a:gd name="connsiteY3" fmla="*/ 1312862 h 1312862"/>
                <a:gd name="connsiteX4" fmla="*/ 0 w 879886"/>
                <a:gd name="connsiteY4" fmla="*/ 2795 h 1312862"/>
                <a:gd name="connsiteX0" fmla="*/ 0 w 879888"/>
                <a:gd name="connsiteY0" fmla="*/ 2916 h 1312983"/>
                <a:gd name="connsiteX1" fmla="*/ 601789 w 879888"/>
                <a:gd name="connsiteY1" fmla="*/ 351872 h 1312983"/>
                <a:gd name="connsiteX2" fmla="*/ 879842 w 879888"/>
                <a:gd name="connsiteY2" fmla="*/ 836667 h 1312983"/>
                <a:gd name="connsiteX3" fmla="*/ 540636 w 879888"/>
                <a:gd name="connsiteY3" fmla="*/ 1312983 h 1312983"/>
                <a:gd name="connsiteX4" fmla="*/ 0 w 879888"/>
                <a:gd name="connsiteY4" fmla="*/ 2916 h 1312983"/>
                <a:gd name="connsiteX0" fmla="*/ 0 w 879888"/>
                <a:gd name="connsiteY0" fmla="*/ 0 h 1310067"/>
                <a:gd name="connsiteX1" fmla="*/ 601789 w 879888"/>
                <a:gd name="connsiteY1" fmla="*/ 348956 h 1310067"/>
                <a:gd name="connsiteX2" fmla="*/ 879842 w 879888"/>
                <a:gd name="connsiteY2" fmla="*/ 833751 h 1310067"/>
                <a:gd name="connsiteX3" fmla="*/ 540636 w 879888"/>
                <a:gd name="connsiteY3" fmla="*/ 1310067 h 1310067"/>
                <a:gd name="connsiteX4" fmla="*/ 0 w 879888"/>
                <a:gd name="connsiteY4" fmla="*/ 0 h 131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9888" h="1310067">
                  <a:moveTo>
                    <a:pt x="0" y="0"/>
                  </a:moveTo>
                  <a:cubicBezTo>
                    <a:pt x="184972" y="33155"/>
                    <a:pt x="401710" y="127876"/>
                    <a:pt x="601789" y="348956"/>
                  </a:cubicBezTo>
                  <a:cubicBezTo>
                    <a:pt x="843316" y="605388"/>
                    <a:pt x="881429" y="791065"/>
                    <a:pt x="879842" y="833751"/>
                  </a:cubicBezTo>
                  <a:cubicBezTo>
                    <a:pt x="683956" y="1062310"/>
                    <a:pt x="616208" y="1223734"/>
                    <a:pt x="540636" y="1310067"/>
                  </a:cubicBezTo>
                  <a:cubicBezTo>
                    <a:pt x="454653" y="758735"/>
                    <a:pt x="292745" y="288885"/>
                    <a:pt x="0" y="0"/>
                  </a:cubicBezTo>
                  <a:close/>
                </a:path>
              </a:pathLst>
            </a:custGeom>
            <a:solidFill>
              <a:srgbClr val="50A0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CEB69DB7-0018-4D47-977F-D3B8D24064CE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C0E6E3">
              <a:alpha val="7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l" defTabSz="914400" rtl="1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itle 7">
            <a:extLst>
              <a:ext uri="{FF2B5EF4-FFF2-40B4-BE49-F238E27FC236}">
                <a16:creationId xmlns:a16="http://schemas.microsoft.com/office/drawing/2014/main" id="{969A9A62-1951-AC43-AAF2-E13BA5267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9" y="4655887"/>
            <a:ext cx="7893919" cy="1167721"/>
          </a:xfrm>
        </p:spPr>
        <p:txBody>
          <a:bodyPr vert="horz"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n>
                  <a:noFill/>
                </a:ln>
                <a:solidFill>
                  <a:srgbClr val="116769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r>
              <a:rPr lang="en-US"/>
              <a:t>Title</a:t>
            </a:r>
            <a:endParaRPr lang="en-SA"/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BEF33381-200F-0F49-9966-E6AD02267C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61056"/>
          <a:stretch/>
        </p:blipFill>
        <p:spPr>
          <a:xfrm>
            <a:off x="-274718" y="-162845"/>
            <a:ext cx="1719106" cy="244150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FA0E2A-6FE5-458F-879B-164277E768C6}"/>
              </a:ext>
            </a:extLst>
          </p:cNvPr>
          <p:cNvSpPr txBox="1"/>
          <p:nvPr userDrawn="1"/>
        </p:nvSpPr>
        <p:spPr>
          <a:xfrm>
            <a:off x="1037752" y="811212"/>
            <a:ext cx="1847850" cy="5238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r" defTabSz="914400" rtl="1" eaLnBrk="1" latinLnBrk="0" hangingPunct="1"/>
            <a:r>
              <a:rPr lang="ar-SA" sz="1200" b="1" i="0" kern="1200">
                <a:ln>
                  <a:noFill/>
                </a:ln>
                <a:solidFill>
                  <a:srgbClr val="116769"/>
                </a:solidFill>
                <a:latin typeface="Effra" panose="020B0603020203020204" pitchFamily="34" charset="0"/>
                <a:ea typeface="+mj-ea"/>
                <a:cs typeface="Effra" panose="020B0603020203020204" pitchFamily="34" charset="0"/>
                <a:sym typeface="Effra" panose="020B0603020203020204" pitchFamily="34" charset="0"/>
              </a:rPr>
              <a:t>وزارة الموارد البشرية والتنمية الإجتماعية</a:t>
            </a:r>
            <a:endParaRPr lang="en-US" sz="1200" b="1" i="0" kern="1200">
              <a:ln>
                <a:noFill/>
              </a:ln>
              <a:solidFill>
                <a:srgbClr val="116769"/>
              </a:solidFill>
              <a:latin typeface="Effra" panose="020B0603020203020204" pitchFamily="34" charset="0"/>
              <a:ea typeface="+mj-ea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B24DB8E-F051-4FEA-808B-E14D85AD43F1}"/>
              </a:ext>
            </a:extLst>
          </p:cNvPr>
          <p:cNvGrpSpPr/>
          <p:nvPr userDrawn="1"/>
        </p:nvGrpSpPr>
        <p:grpSpPr>
          <a:xfrm>
            <a:off x="-2015980" y="3672267"/>
            <a:ext cx="1383042" cy="1468557"/>
            <a:chOff x="4512736" y="3375693"/>
            <a:chExt cx="1383042" cy="1468557"/>
          </a:xfrm>
        </p:grpSpPr>
        <p:sp>
          <p:nvSpPr>
            <p:cNvPr id="12" name="Rectangle: Single Corner Rounded 2">
              <a:extLst>
                <a:ext uri="{FF2B5EF4-FFF2-40B4-BE49-F238E27FC236}">
                  <a16:creationId xmlns:a16="http://schemas.microsoft.com/office/drawing/2014/main" id="{46412B0A-614B-4D39-A879-1F737F27499A}"/>
                </a:ext>
              </a:extLst>
            </p:cNvPr>
            <p:cNvSpPr/>
            <p:nvPr userDrawn="1"/>
          </p:nvSpPr>
          <p:spPr>
            <a:xfrm rot="20207831">
              <a:off x="4512736" y="4014500"/>
              <a:ext cx="672511" cy="829750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11" h="829750">
                  <a:moveTo>
                    <a:pt x="0" y="25688"/>
                  </a:moveTo>
                  <a:cubicBezTo>
                    <a:pt x="102658" y="-593"/>
                    <a:pt x="289453" y="-47513"/>
                    <a:pt x="527049" y="132580"/>
                  </a:cubicBezTo>
                  <a:cubicBezTo>
                    <a:pt x="712787" y="402278"/>
                    <a:pt x="668336" y="686264"/>
                    <a:pt x="666749" y="728950"/>
                  </a:cubicBezTo>
                  <a:cubicBezTo>
                    <a:pt x="654578" y="756467"/>
                    <a:pt x="516996" y="853834"/>
                    <a:pt x="428625" y="824200"/>
                  </a:cubicBezTo>
                  <a:cubicBezTo>
                    <a:pt x="369888" y="559617"/>
                    <a:pt x="317500" y="220421"/>
                    <a:pt x="0" y="256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3" name="Rectangle: Single Corner Rounded 2">
              <a:extLst>
                <a:ext uri="{FF2B5EF4-FFF2-40B4-BE49-F238E27FC236}">
                  <a16:creationId xmlns:a16="http://schemas.microsoft.com/office/drawing/2014/main" id="{29194FAB-3112-41C3-87C9-30DF5AD4D032}"/>
                </a:ext>
              </a:extLst>
            </p:cNvPr>
            <p:cNvSpPr/>
            <p:nvPr userDrawn="1"/>
          </p:nvSpPr>
          <p:spPr>
            <a:xfrm>
              <a:off x="4523851" y="3957350"/>
              <a:ext cx="672511" cy="829750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11" h="829750">
                  <a:moveTo>
                    <a:pt x="0" y="25688"/>
                  </a:moveTo>
                  <a:cubicBezTo>
                    <a:pt x="102658" y="-593"/>
                    <a:pt x="289453" y="-47513"/>
                    <a:pt x="527049" y="132580"/>
                  </a:cubicBezTo>
                  <a:cubicBezTo>
                    <a:pt x="712787" y="402278"/>
                    <a:pt x="668336" y="686264"/>
                    <a:pt x="666749" y="728950"/>
                  </a:cubicBezTo>
                  <a:cubicBezTo>
                    <a:pt x="654578" y="756467"/>
                    <a:pt x="516996" y="853834"/>
                    <a:pt x="428625" y="824200"/>
                  </a:cubicBezTo>
                  <a:cubicBezTo>
                    <a:pt x="369888" y="559617"/>
                    <a:pt x="317500" y="220421"/>
                    <a:pt x="0" y="2568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4" name="Rectangle: Single Corner Rounded 2">
              <a:extLst>
                <a:ext uri="{FF2B5EF4-FFF2-40B4-BE49-F238E27FC236}">
                  <a16:creationId xmlns:a16="http://schemas.microsoft.com/office/drawing/2014/main" id="{02F3E77E-8BBB-441A-89C2-A8FBFE9E6075}"/>
                </a:ext>
              </a:extLst>
            </p:cNvPr>
            <p:cNvSpPr/>
            <p:nvPr userDrawn="1"/>
          </p:nvSpPr>
          <p:spPr>
            <a:xfrm rot="1241782" flipH="1">
              <a:off x="5174384" y="3375693"/>
              <a:ext cx="721394" cy="1310067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  <a:gd name="connsiteX0" fmla="*/ 0 w 767180"/>
                <a:gd name="connsiteY0" fmla="*/ 3491 h 979425"/>
                <a:gd name="connsiteX1" fmla="*/ 621718 w 767180"/>
                <a:gd name="connsiteY1" fmla="*/ 282255 h 979425"/>
                <a:gd name="connsiteX2" fmla="*/ 761418 w 767180"/>
                <a:gd name="connsiteY2" fmla="*/ 878625 h 979425"/>
                <a:gd name="connsiteX3" fmla="*/ 523294 w 767180"/>
                <a:gd name="connsiteY3" fmla="*/ 973875 h 979425"/>
                <a:gd name="connsiteX4" fmla="*/ 0 w 767180"/>
                <a:gd name="connsiteY4" fmla="*/ 3491 h 979425"/>
                <a:gd name="connsiteX0" fmla="*/ 0 w 767180"/>
                <a:gd name="connsiteY0" fmla="*/ 3491 h 1318717"/>
                <a:gd name="connsiteX1" fmla="*/ 621718 w 767180"/>
                <a:gd name="connsiteY1" fmla="*/ 282255 h 1318717"/>
                <a:gd name="connsiteX2" fmla="*/ 761418 w 767180"/>
                <a:gd name="connsiteY2" fmla="*/ 878625 h 1318717"/>
                <a:gd name="connsiteX3" fmla="*/ 547197 w 767180"/>
                <a:gd name="connsiteY3" fmla="*/ 1317288 h 1318717"/>
                <a:gd name="connsiteX4" fmla="*/ 0 w 767180"/>
                <a:gd name="connsiteY4" fmla="*/ 3491 h 1318717"/>
                <a:gd name="connsiteX0" fmla="*/ 0 w 767180"/>
                <a:gd name="connsiteY0" fmla="*/ 3491 h 1318717"/>
                <a:gd name="connsiteX1" fmla="*/ 621718 w 767180"/>
                <a:gd name="connsiteY1" fmla="*/ 282255 h 1318717"/>
                <a:gd name="connsiteX2" fmla="*/ 761418 w 767180"/>
                <a:gd name="connsiteY2" fmla="*/ 878625 h 1318717"/>
                <a:gd name="connsiteX3" fmla="*/ 547197 w 767180"/>
                <a:gd name="connsiteY3" fmla="*/ 1317288 h 1318717"/>
                <a:gd name="connsiteX4" fmla="*/ 0 w 767180"/>
                <a:gd name="connsiteY4" fmla="*/ 3491 h 1318717"/>
                <a:gd name="connsiteX0" fmla="*/ 0 w 762767"/>
                <a:gd name="connsiteY0" fmla="*/ 2588 h 1317814"/>
                <a:gd name="connsiteX1" fmla="*/ 597081 w 762767"/>
                <a:gd name="connsiteY1" fmla="*/ 334814 h 1317814"/>
                <a:gd name="connsiteX2" fmla="*/ 761418 w 762767"/>
                <a:gd name="connsiteY2" fmla="*/ 877722 h 1317814"/>
                <a:gd name="connsiteX3" fmla="*/ 547197 w 762767"/>
                <a:gd name="connsiteY3" fmla="*/ 1316385 h 1317814"/>
                <a:gd name="connsiteX4" fmla="*/ 0 w 762767"/>
                <a:gd name="connsiteY4" fmla="*/ 2588 h 1317814"/>
                <a:gd name="connsiteX0" fmla="*/ 0 w 884929"/>
                <a:gd name="connsiteY0" fmla="*/ 2588 h 1317624"/>
                <a:gd name="connsiteX1" fmla="*/ 597081 w 884929"/>
                <a:gd name="connsiteY1" fmla="*/ 334814 h 1317624"/>
                <a:gd name="connsiteX2" fmla="*/ 884913 w 884929"/>
                <a:gd name="connsiteY2" fmla="*/ 807364 h 1317624"/>
                <a:gd name="connsiteX3" fmla="*/ 547197 w 884929"/>
                <a:gd name="connsiteY3" fmla="*/ 1316385 h 1317624"/>
                <a:gd name="connsiteX4" fmla="*/ 0 w 884929"/>
                <a:gd name="connsiteY4" fmla="*/ 2588 h 1317624"/>
                <a:gd name="connsiteX0" fmla="*/ 0 w 884930"/>
                <a:gd name="connsiteY0" fmla="*/ 2588 h 1318360"/>
                <a:gd name="connsiteX1" fmla="*/ 597081 w 884930"/>
                <a:gd name="connsiteY1" fmla="*/ 334814 h 1318360"/>
                <a:gd name="connsiteX2" fmla="*/ 884913 w 884930"/>
                <a:gd name="connsiteY2" fmla="*/ 807364 h 1318360"/>
                <a:gd name="connsiteX3" fmla="*/ 547197 w 884930"/>
                <a:gd name="connsiteY3" fmla="*/ 1316385 h 1318360"/>
                <a:gd name="connsiteX4" fmla="*/ 0 w 884930"/>
                <a:gd name="connsiteY4" fmla="*/ 2588 h 1318360"/>
                <a:gd name="connsiteX0" fmla="*/ 0 w 886420"/>
                <a:gd name="connsiteY0" fmla="*/ 2588 h 1318571"/>
                <a:gd name="connsiteX1" fmla="*/ 597081 w 886420"/>
                <a:gd name="connsiteY1" fmla="*/ 334814 h 1318571"/>
                <a:gd name="connsiteX2" fmla="*/ 886403 w 886420"/>
                <a:gd name="connsiteY2" fmla="*/ 840069 h 1318571"/>
                <a:gd name="connsiteX3" fmla="*/ 547197 w 886420"/>
                <a:gd name="connsiteY3" fmla="*/ 1316385 h 1318571"/>
                <a:gd name="connsiteX4" fmla="*/ 0 w 886420"/>
                <a:gd name="connsiteY4" fmla="*/ 2588 h 1318571"/>
                <a:gd name="connsiteX0" fmla="*/ 0 w 886420"/>
                <a:gd name="connsiteY0" fmla="*/ 2588 h 1316385"/>
                <a:gd name="connsiteX1" fmla="*/ 597081 w 886420"/>
                <a:gd name="connsiteY1" fmla="*/ 334814 h 1316385"/>
                <a:gd name="connsiteX2" fmla="*/ 886403 w 886420"/>
                <a:gd name="connsiteY2" fmla="*/ 840069 h 1316385"/>
                <a:gd name="connsiteX3" fmla="*/ 547197 w 886420"/>
                <a:gd name="connsiteY3" fmla="*/ 1316385 h 1316385"/>
                <a:gd name="connsiteX4" fmla="*/ 0 w 886420"/>
                <a:gd name="connsiteY4" fmla="*/ 2588 h 1316385"/>
                <a:gd name="connsiteX0" fmla="*/ 0 w 886422"/>
                <a:gd name="connsiteY0" fmla="*/ 2271 h 1316068"/>
                <a:gd name="connsiteX1" fmla="*/ 606740 w 886422"/>
                <a:gd name="connsiteY1" fmla="*/ 362943 h 1316068"/>
                <a:gd name="connsiteX2" fmla="*/ 886403 w 886422"/>
                <a:gd name="connsiteY2" fmla="*/ 839752 h 1316068"/>
                <a:gd name="connsiteX3" fmla="*/ 547197 w 886422"/>
                <a:gd name="connsiteY3" fmla="*/ 1316068 h 1316068"/>
                <a:gd name="connsiteX4" fmla="*/ 0 w 886422"/>
                <a:gd name="connsiteY4" fmla="*/ 2271 h 1316068"/>
                <a:gd name="connsiteX0" fmla="*/ 0 w 886422"/>
                <a:gd name="connsiteY0" fmla="*/ 2741 h 1316538"/>
                <a:gd name="connsiteX1" fmla="*/ 606740 w 886422"/>
                <a:gd name="connsiteY1" fmla="*/ 363413 h 1316538"/>
                <a:gd name="connsiteX2" fmla="*/ 886403 w 886422"/>
                <a:gd name="connsiteY2" fmla="*/ 840222 h 1316538"/>
                <a:gd name="connsiteX3" fmla="*/ 547197 w 886422"/>
                <a:gd name="connsiteY3" fmla="*/ 1316538 h 1316538"/>
                <a:gd name="connsiteX4" fmla="*/ 0 w 886422"/>
                <a:gd name="connsiteY4" fmla="*/ 2741 h 1316538"/>
                <a:gd name="connsiteX0" fmla="*/ 0 w 886446"/>
                <a:gd name="connsiteY0" fmla="*/ 2741 h 1316538"/>
                <a:gd name="connsiteX1" fmla="*/ 606740 w 886446"/>
                <a:gd name="connsiteY1" fmla="*/ 363413 h 1316538"/>
                <a:gd name="connsiteX2" fmla="*/ 886403 w 886446"/>
                <a:gd name="connsiteY2" fmla="*/ 840222 h 1316538"/>
                <a:gd name="connsiteX3" fmla="*/ 547197 w 886446"/>
                <a:gd name="connsiteY3" fmla="*/ 1316538 h 1316538"/>
                <a:gd name="connsiteX4" fmla="*/ 0 w 886446"/>
                <a:gd name="connsiteY4" fmla="*/ 2741 h 1316538"/>
                <a:gd name="connsiteX0" fmla="*/ 0 w 886447"/>
                <a:gd name="connsiteY0" fmla="*/ 2741 h 1316538"/>
                <a:gd name="connsiteX1" fmla="*/ 606740 w 886447"/>
                <a:gd name="connsiteY1" fmla="*/ 363413 h 1316538"/>
                <a:gd name="connsiteX2" fmla="*/ 886403 w 886447"/>
                <a:gd name="connsiteY2" fmla="*/ 840222 h 1316538"/>
                <a:gd name="connsiteX3" fmla="*/ 547197 w 886447"/>
                <a:gd name="connsiteY3" fmla="*/ 1316538 h 1316538"/>
                <a:gd name="connsiteX4" fmla="*/ 0 w 886447"/>
                <a:gd name="connsiteY4" fmla="*/ 2741 h 1316538"/>
                <a:gd name="connsiteX0" fmla="*/ 0 w 886447"/>
                <a:gd name="connsiteY0" fmla="*/ 2741 h 1316538"/>
                <a:gd name="connsiteX1" fmla="*/ 606740 w 886447"/>
                <a:gd name="connsiteY1" fmla="*/ 363413 h 1316538"/>
                <a:gd name="connsiteX2" fmla="*/ 886403 w 886447"/>
                <a:gd name="connsiteY2" fmla="*/ 840222 h 1316538"/>
                <a:gd name="connsiteX3" fmla="*/ 547197 w 886447"/>
                <a:gd name="connsiteY3" fmla="*/ 1316538 h 1316538"/>
                <a:gd name="connsiteX4" fmla="*/ 0 w 886447"/>
                <a:gd name="connsiteY4" fmla="*/ 2741 h 1316538"/>
                <a:gd name="connsiteX0" fmla="*/ 0 w 879886"/>
                <a:gd name="connsiteY0" fmla="*/ 2795 h 1312862"/>
                <a:gd name="connsiteX1" fmla="*/ 600179 w 879886"/>
                <a:gd name="connsiteY1" fmla="*/ 359737 h 1312862"/>
                <a:gd name="connsiteX2" fmla="*/ 879842 w 879886"/>
                <a:gd name="connsiteY2" fmla="*/ 836546 h 1312862"/>
                <a:gd name="connsiteX3" fmla="*/ 540636 w 879886"/>
                <a:gd name="connsiteY3" fmla="*/ 1312862 h 1312862"/>
                <a:gd name="connsiteX4" fmla="*/ 0 w 879886"/>
                <a:gd name="connsiteY4" fmla="*/ 2795 h 1312862"/>
                <a:gd name="connsiteX0" fmla="*/ 0 w 879886"/>
                <a:gd name="connsiteY0" fmla="*/ 2795 h 1312862"/>
                <a:gd name="connsiteX1" fmla="*/ 600179 w 879886"/>
                <a:gd name="connsiteY1" fmla="*/ 359737 h 1312862"/>
                <a:gd name="connsiteX2" fmla="*/ 879842 w 879886"/>
                <a:gd name="connsiteY2" fmla="*/ 836546 h 1312862"/>
                <a:gd name="connsiteX3" fmla="*/ 540636 w 879886"/>
                <a:gd name="connsiteY3" fmla="*/ 1312862 h 1312862"/>
                <a:gd name="connsiteX4" fmla="*/ 0 w 879886"/>
                <a:gd name="connsiteY4" fmla="*/ 2795 h 1312862"/>
                <a:gd name="connsiteX0" fmla="*/ 0 w 879888"/>
                <a:gd name="connsiteY0" fmla="*/ 2916 h 1312983"/>
                <a:gd name="connsiteX1" fmla="*/ 601789 w 879888"/>
                <a:gd name="connsiteY1" fmla="*/ 351872 h 1312983"/>
                <a:gd name="connsiteX2" fmla="*/ 879842 w 879888"/>
                <a:gd name="connsiteY2" fmla="*/ 836667 h 1312983"/>
                <a:gd name="connsiteX3" fmla="*/ 540636 w 879888"/>
                <a:gd name="connsiteY3" fmla="*/ 1312983 h 1312983"/>
                <a:gd name="connsiteX4" fmla="*/ 0 w 879888"/>
                <a:gd name="connsiteY4" fmla="*/ 2916 h 1312983"/>
                <a:gd name="connsiteX0" fmla="*/ 0 w 879888"/>
                <a:gd name="connsiteY0" fmla="*/ 0 h 1310067"/>
                <a:gd name="connsiteX1" fmla="*/ 601789 w 879888"/>
                <a:gd name="connsiteY1" fmla="*/ 348956 h 1310067"/>
                <a:gd name="connsiteX2" fmla="*/ 879842 w 879888"/>
                <a:gd name="connsiteY2" fmla="*/ 833751 h 1310067"/>
                <a:gd name="connsiteX3" fmla="*/ 540636 w 879888"/>
                <a:gd name="connsiteY3" fmla="*/ 1310067 h 1310067"/>
                <a:gd name="connsiteX4" fmla="*/ 0 w 879888"/>
                <a:gd name="connsiteY4" fmla="*/ 0 h 131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9888" h="1310067">
                  <a:moveTo>
                    <a:pt x="0" y="0"/>
                  </a:moveTo>
                  <a:cubicBezTo>
                    <a:pt x="184972" y="33155"/>
                    <a:pt x="401710" y="127876"/>
                    <a:pt x="601789" y="348956"/>
                  </a:cubicBezTo>
                  <a:cubicBezTo>
                    <a:pt x="843316" y="605388"/>
                    <a:pt x="881429" y="791065"/>
                    <a:pt x="879842" y="833751"/>
                  </a:cubicBezTo>
                  <a:cubicBezTo>
                    <a:pt x="683956" y="1062310"/>
                    <a:pt x="616208" y="1223734"/>
                    <a:pt x="540636" y="1310067"/>
                  </a:cubicBezTo>
                  <a:cubicBezTo>
                    <a:pt x="454653" y="758735"/>
                    <a:pt x="292745" y="288885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EB0385-06A2-4B70-8830-F5DBA251ECA6}"/>
              </a:ext>
            </a:extLst>
          </p:cNvPr>
          <p:cNvCxnSpPr>
            <a:cxnSpLocks/>
          </p:cNvCxnSpPr>
          <p:nvPr userDrawn="1"/>
        </p:nvCxnSpPr>
        <p:spPr>
          <a:xfrm>
            <a:off x="11389093" y="4655886"/>
            <a:ext cx="0" cy="546034"/>
          </a:xfrm>
          <a:prstGeom prst="line">
            <a:avLst/>
          </a:prstGeom>
          <a:ln w="76200">
            <a:solidFill>
              <a:srgbClr val="116769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4395DE4D-71D7-4E75-ADE7-B0C7D54A5BEE}"/>
              </a:ext>
            </a:extLst>
          </p:cNvPr>
          <p:cNvSpPr/>
          <p:nvPr userDrawn="1"/>
        </p:nvSpPr>
        <p:spPr>
          <a:xfrm>
            <a:off x="4970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2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768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5B3489-8DAC-4F70-9344-AD6485930C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360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65B3489-8DAC-4F70-9344-AD6485930C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DF6CE96F-3BBC-5B43-AF4F-901EB25AE7F2}"/>
              </a:ext>
            </a:extLst>
          </p:cNvPr>
          <p:cNvSpPr/>
          <p:nvPr userDrawn="1"/>
        </p:nvSpPr>
        <p:spPr>
          <a:xfrm>
            <a:off x="722630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SA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6362700"/>
            <a:ext cx="12192000" cy="49530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52554AE-AB0B-3F48-8667-65D9B7DE091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079741" y="1209675"/>
            <a:ext cx="3578711" cy="4967289"/>
          </a:xfrm>
        </p:spPr>
        <p:txBody>
          <a:bodyPr/>
          <a:lstStyle>
            <a:lvl1pPr marL="0" indent="0" algn="l" rtl="0">
              <a:buNone/>
              <a:defRPr sz="18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algn="l" rtl="0">
              <a:defRPr sz="160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defRPr>
            </a:lvl2pPr>
            <a:lvl3pPr algn="l" rtl="0">
              <a:defRPr sz="140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defRPr>
            </a:lvl3pPr>
            <a:lvl4pPr algn="l" rtl="0">
              <a:defRPr sz="120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defRPr>
            </a:lvl4pPr>
            <a:lvl5pPr algn="l" rtl="0">
              <a:defRPr sz="120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defRPr>
            </a:lvl5pPr>
          </a:lstStyle>
          <a:p>
            <a:pPr lvl="0"/>
            <a:endParaRPr lang="en-SA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D8A23A0-C283-7046-AFEC-14FC93FAB3C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8950" y="261938"/>
            <a:ext cx="698500" cy="571500"/>
          </a:xfrm>
          <a:prstGeom prst="rect">
            <a:avLst/>
          </a:prstGeom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CD44022-ED31-5C48-AF5E-93A6D9CE9A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41571" y="6356351"/>
            <a:ext cx="1374648" cy="365125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endParaRPr lang="en-SA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B22EBBB-C37C-EC41-A2B9-B254DB214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6450" y="6356351"/>
            <a:ext cx="3119560" cy="365125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pPr rtl="1"/>
            <a:endParaRPr lang="fi-FI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96441A-4971-4A24-9572-1280A24428E3}"/>
              </a:ext>
            </a:extLst>
          </p:cNvPr>
          <p:cNvSpPr/>
          <p:nvPr userDrawn="1"/>
        </p:nvSpPr>
        <p:spPr>
          <a:xfrm>
            <a:off x="7484464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1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C2B1192C-CA56-4C86-9B68-F527FAC6D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9225" y="165100"/>
            <a:ext cx="5607051" cy="854075"/>
          </a:xfrm>
        </p:spPr>
        <p:txBody>
          <a:bodyPr/>
          <a:lstStyle>
            <a:lvl1pPr>
              <a:defRPr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B5A9CC2C-A85B-4D1C-A21F-36148BB0913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88949" y="1171576"/>
            <a:ext cx="6537326" cy="5000625"/>
          </a:xfrm>
        </p:spPr>
        <p:txBody>
          <a:bodyPr/>
          <a:lstStyle>
            <a:lvl1pPr>
              <a:defRPr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122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EF38747-2CE8-4CEF-A7EB-F78DF411BD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323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EF38747-2CE8-4CEF-A7EB-F78DF411BD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49314A7-4151-B345-9B55-CF0FD018A3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0900" y="1574800"/>
            <a:ext cx="3086100" cy="431800"/>
          </a:xfrm>
        </p:spPr>
        <p:txBody>
          <a:bodyPr>
            <a:noAutofit/>
          </a:bodyPr>
          <a:lstStyle>
            <a:lvl1pPr marL="0" indent="0">
              <a:buNone/>
              <a:defRPr sz="2800" b="1" i="0">
                <a:solidFill>
                  <a:srgbClr val="2E2A83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>
              <a:buNone/>
              <a:defRPr sz="3200" b="1" i="0">
                <a:latin typeface="TT Norms Bold" panose="02000503030000020003" pitchFamily="2" charset="77"/>
              </a:defRPr>
            </a:lvl2pPr>
            <a:lvl3pPr marL="914400" indent="0">
              <a:buNone/>
              <a:defRPr sz="3200" b="1" i="0">
                <a:latin typeface="TT Norms Bold" panose="02000503030000020003" pitchFamily="2" charset="77"/>
              </a:defRPr>
            </a:lvl3pPr>
            <a:lvl4pPr marL="1371600" indent="0">
              <a:buNone/>
              <a:defRPr sz="3200" b="1" i="0">
                <a:latin typeface="TT Norms Bold" panose="02000503030000020003" pitchFamily="2" charset="77"/>
              </a:defRPr>
            </a:lvl4pPr>
            <a:lvl5pPr marL="1828800" indent="0">
              <a:buNone/>
              <a:defRPr sz="3200" b="1" i="0">
                <a:latin typeface="TT Norms Bold" panose="02000503030000020003" pitchFamily="2" charset="77"/>
              </a:defRPr>
            </a:lvl5pPr>
          </a:lstStyle>
          <a:p>
            <a:pPr lvl="0"/>
            <a:r>
              <a:rPr lang="en-SA"/>
              <a:t>Slide Subjec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2E61BFF-0DAD-3040-B45D-C5FDEFCF0A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900" y="2209800"/>
            <a:ext cx="3086100" cy="431800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rgbClr val="00AE6D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>
              <a:buNone/>
              <a:defRPr sz="3200" b="1" i="0">
                <a:latin typeface="TT Norms Bold" panose="02000503030000020003" pitchFamily="2" charset="77"/>
              </a:defRPr>
            </a:lvl2pPr>
            <a:lvl3pPr marL="914400" indent="0">
              <a:buNone/>
              <a:defRPr sz="3200" b="1" i="0">
                <a:latin typeface="TT Norms Bold" panose="02000503030000020003" pitchFamily="2" charset="77"/>
              </a:defRPr>
            </a:lvl3pPr>
            <a:lvl4pPr marL="1371600" indent="0">
              <a:buNone/>
              <a:defRPr sz="3200" b="1" i="0">
                <a:latin typeface="TT Norms Bold" panose="02000503030000020003" pitchFamily="2" charset="77"/>
              </a:defRPr>
            </a:lvl4pPr>
            <a:lvl5pPr marL="1828800" indent="0">
              <a:buNone/>
              <a:defRPr sz="3200" b="1" i="0">
                <a:latin typeface="TT Norms Bold" panose="02000503030000020003" pitchFamily="2" charset="77"/>
              </a:defRPr>
            </a:lvl5pPr>
          </a:lstStyle>
          <a:p>
            <a:pPr lvl="0"/>
            <a:r>
              <a:rPr lang="en-SA"/>
              <a:t>Sub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681319B-69A1-4F43-977F-556F65EC6F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900" y="3048000"/>
            <a:ext cx="10756900" cy="2882900"/>
          </a:xfrm>
        </p:spPr>
        <p:txBody>
          <a:bodyPr>
            <a:noAutofit/>
          </a:bodyPr>
          <a:lstStyle>
            <a:lvl1pPr marL="0" indent="0">
              <a:buNone/>
              <a:defRPr sz="1600" b="1" i="0">
                <a:solidFill>
                  <a:srgbClr val="2E2A83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>
              <a:buNone/>
              <a:defRPr sz="3200" b="1" i="0">
                <a:latin typeface="TT Norms Bold" panose="02000503030000020003" pitchFamily="2" charset="77"/>
              </a:defRPr>
            </a:lvl2pPr>
            <a:lvl3pPr marL="914400" indent="0">
              <a:buNone/>
              <a:defRPr sz="3200" b="1" i="0">
                <a:latin typeface="TT Norms Bold" panose="02000503030000020003" pitchFamily="2" charset="77"/>
              </a:defRPr>
            </a:lvl3pPr>
            <a:lvl4pPr marL="1371600" indent="0">
              <a:buNone/>
              <a:defRPr sz="3200" b="1" i="0">
                <a:latin typeface="TT Norms Bold" panose="02000503030000020003" pitchFamily="2" charset="77"/>
              </a:defRPr>
            </a:lvl4pPr>
            <a:lvl5pPr marL="1828800" indent="0">
              <a:buNone/>
              <a:defRPr sz="3200" b="1" i="0">
                <a:latin typeface="TT Norms Bold" panose="02000503030000020003" pitchFamily="2" charset="77"/>
              </a:defRPr>
            </a:lvl5pPr>
          </a:lstStyle>
          <a:p>
            <a:pPr lvl="0"/>
            <a:r>
              <a:rPr lang="en-SA"/>
              <a:t>Please insert your content here.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D70C781-1B2B-AE4A-AB5B-BF92307972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60100" y="458354"/>
            <a:ext cx="647700" cy="282864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rgbClr val="5A5CFF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>
              <a:buNone/>
              <a:defRPr sz="3200" b="1" i="0">
                <a:latin typeface="TT Norms Bold" panose="02000503030000020003" pitchFamily="2" charset="77"/>
              </a:defRPr>
            </a:lvl2pPr>
            <a:lvl3pPr marL="914400" indent="0">
              <a:buNone/>
              <a:defRPr sz="3200" b="1" i="0">
                <a:latin typeface="TT Norms Bold" panose="02000503030000020003" pitchFamily="2" charset="77"/>
              </a:defRPr>
            </a:lvl3pPr>
            <a:lvl4pPr marL="1371600" indent="0">
              <a:buNone/>
              <a:defRPr sz="3200" b="1" i="0">
                <a:latin typeface="TT Norms Bold" panose="02000503030000020003" pitchFamily="2" charset="77"/>
              </a:defRPr>
            </a:lvl4pPr>
            <a:lvl5pPr marL="1828800" indent="0">
              <a:buNone/>
              <a:defRPr sz="3200" b="1" i="0">
                <a:latin typeface="TT Norms Bold" panose="02000503030000020003" pitchFamily="2" charset="77"/>
              </a:defRPr>
            </a:lvl5pPr>
          </a:lstStyle>
          <a:p>
            <a:pPr lvl="0"/>
            <a:r>
              <a:rPr lang="en-US"/>
              <a:t>0.1</a:t>
            </a:r>
            <a:endParaRPr lang="en-SA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65F8435-A829-E54F-A35F-B5535EDA2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57300" y="458354"/>
            <a:ext cx="647700" cy="282864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rgbClr val="5A5CFF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>
              <a:buNone/>
              <a:defRPr sz="3200" b="1" i="0">
                <a:latin typeface="TT Norms Bold" panose="02000503030000020003" pitchFamily="2" charset="77"/>
              </a:defRPr>
            </a:lvl2pPr>
            <a:lvl3pPr marL="914400" indent="0">
              <a:buNone/>
              <a:defRPr sz="3200" b="1" i="0">
                <a:latin typeface="TT Norms Bold" panose="02000503030000020003" pitchFamily="2" charset="77"/>
              </a:defRPr>
            </a:lvl3pPr>
            <a:lvl4pPr marL="1371600" indent="0">
              <a:buNone/>
              <a:defRPr sz="3200" b="1" i="0">
                <a:latin typeface="TT Norms Bold" panose="02000503030000020003" pitchFamily="2" charset="77"/>
              </a:defRPr>
            </a:lvl4pPr>
            <a:lvl5pPr marL="1828800" indent="0">
              <a:buNone/>
              <a:defRPr sz="3200" b="1" i="0">
                <a:latin typeface="TT Norms Bold" panose="02000503030000020003" pitchFamily="2" charset="77"/>
              </a:defRPr>
            </a:lvl5pPr>
          </a:lstStyle>
          <a:p>
            <a:pPr lvl="0"/>
            <a:r>
              <a:rPr lang="en-US"/>
              <a:t>Title 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3037791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1.png">
            <a:extLst>
              <a:ext uri="{FF2B5EF4-FFF2-40B4-BE49-F238E27FC236}">
                <a16:creationId xmlns:a16="http://schemas.microsoft.com/office/drawing/2014/main" id="{D93F8211-CC88-D036-75ED-FAACB3F5EB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25533"/>
          <a:stretch>
            <a:fillRect/>
          </a:stretch>
        </p:blipFill>
        <p:spPr>
          <a:xfrm rot="10800000">
            <a:off x="8981969" y="3812653"/>
            <a:ext cx="3207699" cy="304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1.png">
            <a:extLst>
              <a:ext uri="{FF2B5EF4-FFF2-40B4-BE49-F238E27FC236}">
                <a16:creationId xmlns:a16="http://schemas.microsoft.com/office/drawing/2014/main" id="{2AF83D61-823C-5BE8-B85A-27871E4B3A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25533"/>
          <a:stretch>
            <a:fillRect/>
          </a:stretch>
        </p:blipFill>
        <p:spPr>
          <a:xfrm>
            <a:off x="2333" y="2"/>
            <a:ext cx="6415397" cy="609069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ounded Rectangle">
            <a:extLst>
              <a:ext uri="{FF2B5EF4-FFF2-40B4-BE49-F238E27FC236}">
                <a16:creationId xmlns:a16="http://schemas.microsoft.com/office/drawing/2014/main" id="{5856148C-691E-F701-9084-D3A15F87C923}"/>
              </a:ext>
            </a:extLst>
          </p:cNvPr>
          <p:cNvSpPr/>
          <p:nvPr userDrawn="1"/>
        </p:nvSpPr>
        <p:spPr>
          <a:xfrm>
            <a:off x="209120" y="6296251"/>
            <a:ext cx="11773760" cy="466238"/>
          </a:xfrm>
          <a:prstGeom prst="roundRect">
            <a:avLst>
              <a:gd name="adj" fmla="val 25884"/>
            </a:avLst>
          </a:prstGeom>
          <a:solidFill>
            <a:srgbClr val="F9F9F9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6F65BE3F-EB9D-498C-8FC5-933BD1FADD48}"/>
              </a:ext>
            </a:extLst>
          </p:cNvPr>
          <p:cNvSpPr/>
          <p:nvPr userDrawn="1"/>
        </p:nvSpPr>
        <p:spPr>
          <a:xfrm>
            <a:off x="1231271" y="1076218"/>
            <a:ext cx="10009352" cy="45719"/>
          </a:xfrm>
          <a:prstGeom prst="rect">
            <a:avLst/>
          </a:prstGeom>
          <a:solidFill>
            <a:srgbClr val="1A81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00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4B5A05CC-A8F6-7849-90AD-5003358553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50" y="312441"/>
            <a:ext cx="2814906" cy="5715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496E1F-CF3D-D018-0626-8B1FD879B6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9562" y="6388010"/>
            <a:ext cx="580826" cy="3018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AC93762-C810-C2C3-988E-96B47C11DCDD}"/>
              </a:ext>
            </a:extLst>
          </p:cNvPr>
          <p:cNvSpPr txBox="1"/>
          <p:nvPr userDrawn="1"/>
        </p:nvSpPr>
        <p:spPr>
          <a:xfrm>
            <a:off x="11457432" y="6356352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marL="0" algn="l" defTabSz="914400" rtl="0" eaLnBrk="1" latinLnBrk="0" hangingPunct="1"/>
              <a:t>‹#›</a:t>
            </a:fld>
            <a:endParaRPr lang="x-none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28867F-3779-3DD0-2DB2-9E67FD77370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37273" y="224005"/>
            <a:ext cx="1044068" cy="776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457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5" y="683878"/>
            <a:ext cx="2717033" cy="83402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9BF7F8A9-6758-254B-8C99-57FDA6618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8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x-none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x-none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16FF9810-8FAF-9A42-BED6-345FCB515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8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tx2"/>
                </a:solidFill>
                <a:latin typeface="29LT Bukra Regular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التقديمي</a:t>
            </a:r>
            <a:endParaRPr lang="x-none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8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x-non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DB4F1C-4483-1C4C-8B04-0CF98E77587B}"/>
              </a:ext>
            </a:extLst>
          </p:cNvPr>
          <p:cNvSpPr/>
          <p:nvPr userDrawn="1"/>
        </p:nvSpPr>
        <p:spPr>
          <a:xfrm>
            <a:off x="9307809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33249915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2696E64-78C1-5A33-EB29-9356A23E1A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200" rtl="1" eaLnBrk="1" latinLnBrk="0" hangingPunct="1"/>
            <a:endParaRPr lang="en-US" sz="9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7FD271-AE73-C94D-A7FE-6D4FB8357F55}"/>
              </a:ext>
            </a:extLst>
          </p:cNvPr>
          <p:cNvSpPr/>
          <p:nvPr userDrawn="1"/>
        </p:nvSpPr>
        <p:spPr>
          <a:xfrm>
            <a:off x="5980176" y="4685355"/>
            <a:ext cx="5615870" cy="1466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x-none" sz="2700">
              <a:solidFill>
                <a:schemeClr val="accent5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6F631CF-B958-C74B-A289-5649599D46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0176" y="4850894"/>
            <a:ext cx="5615870" cy="635506"/>
          </a:xfrm>
        </p:spPr>
        <p:txBody>
          <a:bodyPr lIns="0" tIns="0" rIns="0" bIns="0" anchor="b" anchorCtr="0">
            <a:noAutofit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/>
              <a:t>مثال لفاصل داخلي</a:t>
            </a:r>
            <a:endParaRPr lang="x-none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DD344F2-757D-9C41-90FB-3D266A40AC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9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x-none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61CE712-DAC8-E14B-9C33-A476403D74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8089" y="645569"/>
            <a:ext cx="1747958" cy="932749"/>
          </a:xfrm>
        </p:spPr>
        <p:txBody>
          <a:bodyPr lIns="0" tIns="0" rIns="0" bIns="0" anchor="t" anchorCtr="0"/>
          <a:lstStyle>
            <a:lvl1pPr marL="0" indent="0" rtl="1">
              <a:buFontTx/>
              <a:buNone/>
              <a:defRPr sz="6000" b="0" i="0">
                <a:solidFill>
                  <a:schemeClr val="accent4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pPr marL="0" lv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01</a:t>
            </a:r>
            <a:endParaRPr lang="x-non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7A3AA-35FC-584D-9472-95E627C02B21}"/>
              </a:ext>
            </a:extLst>
          </p:cNvPr>
          <p:cNvSpPr/>
          <p:nvPr userDrawn="1"/>
        </p:nvSpPr>
        <p:spPr>
          <a:xfrm>
            <a:off x="9255024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630EE0EF-0A88-8CF6-9AC9-F4BE4395E5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rcRect r="25533"/>
          <a:stretch>
            <a:fillRect/>
          </a:stretch>
        </p:blipFill>
        <p:spPr>
          <a:xfrm rot="10800000">
            <a:off x="8981969" y="3812653"/>
            <a:ext cx="3207699" cy="304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image1.png">
            <a:extLst>
              <a:ext uri="{FF2B5EF4-FFF2-40B4-BE49-F238E27FC236}">
                <a16:creationId xmlns:a16="http://schemas.microsoft.com/office/drawing/2014/main" id="{F477E2FF-B0BB-F138-C699-9942F0C756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rcRect r="25533"/>
          <a:stretch>
            <a:fillRect/>
          </a:stretch>
        </p:blipFill>
        <p:spPr>
          <a:xfrm>
            <a:off x="2333" y="2"/>
            <a:ext cx="6415397" cy="60906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9115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FF1CAF3-D45D-0E4C-8F0D-AF3A688BB2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D379-DD63-FD48-9C4B-53812521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A3573-EBF7-0C4E-B8B4-16AF0713A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0E11C0D-3313-4F49-9FAB-7362151FB9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65700" cy="6858000"/>
          </a:xfrm>
        </p:spPr>
        <p:txBody>
          <a:bodyPr/>
          <a:lstStyle>
            <a:lvl1pPr marL="114300" indent="-114300" algn="l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x-non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F21E63-F7B3-F747-BD8A-098F649057CA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ق 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محفوظة لـ وزارة الموارد البشرية والتنمية الاجتماعية 2020 ©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358A93-140A-6043-9F7F-D16AB0477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3044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&amp; Pic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4E3B32F-4F76-5E4C-B567-B7E0A67AFE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accent4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D379-DD63-FD48-9C4B-53812521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A3573-EBF7-0C4E-B8B4-16AF0713A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endParaRPr lang="x-none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0E11C0D-3313-4F49-9FAB-7362151FB9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65700" cy="6858000"/>
          </a:xfrm>
        </p:spPr>
        <p:txBody>
          <a:bodyPr/>
          <a:lstStyle>
            <a:lvl1pPr marL="114300" indent="-114300" algn="l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x-non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581033-3AD9-4542-B4BD-542517A42183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4184C-614D-9044-86FA-36E2FB66E1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270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x-none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2" y="1825625"/>
            <a:ext cx="3578711" cy="435133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942290-E911-8149-94AF-51D7391494AF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7B3375-8892-F740-8B38-145807AE63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5486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B56387-2A07-874E-99BC-6133BC32E5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x-none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2" y="1825625"/>
            <a:ext cx="3578711" cy="4351338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100">
                <a:solidFill>
                  <a:schemeClr val="accent1"/>
                </a:solidFill>
              </a:defRPr>
            </a:lvl4pPr>
            <a:lvl5pPr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54EC99-96E8-5647-BF9C-6C3C7CDE4FBA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B7CD86-1D3B-3046-B140-6C8036DA94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7388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E944D75-588C-E648-944D-68D7E1002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76E6828-3398-0E41-A5A8-48A4169B2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9431" y="836613"/>
            <a:ext cx="9394371" cy="861558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B4F194-0DF6-A141-80C8-EE63F457204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59431" y="1825625"/>
            <a:ext cx="9394371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8EF1C4-63A1-9148-A72E-E9BD0A5E7B79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FC5E06-37E8-FD4D-9533-F3AD333AB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365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0491B8-38DE-4FA2-8957-33FF29D55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468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0491B8-38DE-4FA2-8957-33FF29D55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D239514-D954-4204-A7CE-EA47A38D4BEF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A2430">
              <a:alpha val="8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91CC9EB-9D06-48D6-8402-944DC96C653F}"/>
              </a:ext>
            </a:extLst>
          </p:cNvPr>
          <p:cNvGrpSpPr/>
          <p:nvPr userDrawn="1"/>
        </p:nvGrpSpPr>
        <p:grpSpPr>
          <a:xfrm>
            <a:off x="3398598" y="-1536970"/>
            <a:ext cx="9844392" cy="11069069"/>
            <a:chOff x="4512736" y="3375693"/>
            <a:chExt cx="1383042" cy="1468557"/>
          </a:xfrm>
        </p:grpSpPr>
        <p:sp>
          <p:nvSpPr>
            <p:cNvPr id="24" name="Rectangle: Single Corner Rounded 2">
              <a:extLst>
                <a:ext uri="{FF2B5EF4-FFF2-40B4-BE49-F238E27FC236}">
                  <a16:creationId xmlns:a16="http://schemas.microsoft.com/office/drawing/2014/main" id="{8A5A5BAB-E583-4D8C-A18F-61B632CA1A02}"/>
                </a:ext>
              </a:extLst>
            </p:cNvPr>
            <p:cNvSpPr/>
            <p:nvPr userDrawn="1"/>
          </p:nvSpPr>
          <p:spPr>
            <a:xfrm rot="20207831">
              <a:off x="4512736" y="4014500"/>
              <a:ext cx="672511" cy="829750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11" h="829750">
                  <a:moveTo>
                    <a:pt x="0" y="25688"/>
                  </a:moveTo>
                  <a:cubicBezTo>
                    <a:pt x="102658" y="-593"/>
                    <a:pt x="289453" y="-47513"/>
                    <a:pt x="527049" y="132580"/>
                  </a:cubicBezTo>
                  <a:cubicBezTo>
                    <a:pt x="712787" y="402278"/>
                    <a:pt x="668336" y="686264"/>
                    <a:pt x="666749" y="728950"/>
                  </a:cubicBezTo>
                  <a:cubicBezTo>
                    <a:pt x="654578" y="756467"/>
                    <a:pt x="516996" y="853834"/>
                    <a:pt x="428625" y="824200"/>
                  </a:cubicBezTo>
                  <a:cubicBezTo>
                    <a:pt x="369888" y="559617"/>
                    <a:pt x="317500" y="220421"/>
                    <a:pt x="0" y="25688"/>
                  </a:cubicBezTo>
                  <a:close/>
                </a:path>
              </a:pathLst>
            </a:custGeom>
            <a:solidFill>
              <a:srgbClr val="0182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5" name="Rectangle: Single Corner Rounded 2">
              <a:extLst>
                <a:ext uri="{FF2B5EF4-FFF2-40B4-BE49-F238E27FC236}">
                  <a16:creationId xmlns:a16="http://schemas.microsoft.com/office/drawing/2014/main" id="{462680BC-4DB0-46DA-8462-61DF4667D1F3}"/>
                </a:ext>
              </a:extLst>
            </p:cNvPr>
            <p:cNvSpPr/>
            <p:nvPr userDrawn="1"/>
          </p:nvSpPr>
          <p:spPr>
            <a:xfrm>
              <a:off x="4523851" y="3957350"/>
              <a:ext cx="672511" cy="829750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511" h="829750">
                  <a:moveTo>
                    <a:pt x="0" y="25688"/>
                  </a:moveTo>
                  <a:cubicBezTo>
                    <a:pt x="102658" y="-593"/>
                    <a:pt x="289453" y="-47513"/>
                    <a:pt x="527049" y="132580"/>
                  </a:cubicBezTo>
                  <a:cubicBezTo>
                    <a:pt x="712787" y="402278"/>
                    <a:pt x="668336" y="686264"/>
                    <a:pt x="666749" y="728950"/>
                  </a:cubicBezTo>
                  <a:cubicBezTo>
                    <a:pt x="654578" y="756467"/>
                    <a:pt x="516996" y="853834"/>
                    <a:pt x="428625" y="824200"/>
                  </a:cubicBezTo>
                  <a:cubicBezTo>
                    <a:pt x="369888" y="559617"/>
                    <a:pt x="317500" y="220421"/>
                    <a:pt x="0" y="25688"/>
                  </a:cubicBezTo>
                  <a:close/>
                </a:path>
              </a:pathLst>
            </a:custGeom>
            <a:solidFill>
              <a:srgbClr val="145F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6" name="Rectangle: Single Corner Rounded 2">
              <a:extLst>
                <a:ext uri="{FF2B5EF4-FFF2-40B4-BE49-F238E27FC236}">
                  <a16:creationId xmlns:a16="http://schemas.microsoft.com/office/drawing/2014/main" id="{27634AF4-FFCC-4C83-B150-ECD5E5A74A9A}"/>
                </a:ext>
              </a:extLst>
            </p:cNvPr>
            <p:cNvSpPr/>
            <p:nvPr userDrawn="1"/>
          </p:nvSpPr>
          <p:spPr>
            <a:xfrm rot="1241782" flipH="1">
              <a:off x="5174384" y="3375693"/>
              <a:ext cx="721394" cy="1310067"/>
            </a:xfrm>
            <a:custGeom>
              <a:avLst/>
              <a:gdLst>
                <a:gd name="connsiteX0" fmla="*/ 0 w 260350"/>
                <a:gd name="connsiteY0" fmla="*/ 0 h 803275"/>
                <a:gd name="connsiteX1" fmla="*/ 216957 w 260350"/>
                <a:gd name="connsiteY1" fmla="*/ 0 h 803275"/>
                <a:gd name="connsiteX2" fmla="*/ 260350 w 260350"/>
                <a:gd name="connsiteY2" fmla="*/ 43393 h 803275"/>
                <a:gd name="connsiteX3" fmla="*/ 260350 w 260350"/>
                <a:gd name="connsiteY3" fmla="*/ 803275 h 803275"/>
                <a:gd name="connsiteX4" fmla="*/ 0 w 260350"/>
                <a:gd name="connsiteY4" fmla="*/ 803275 h 803275"/>
                <a:gd name="connsiteX5" fmla="*/ 0 w 260350"/>
                <a:gd name="connsiteY5" fmla="*/ 0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88975 w 688975"/>
                <a:gd name="connsiteY3" fmla="*/ 803275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88975"/>
                <a:gd name="connsiteY0" fmla="*/ 4763 h 803275"/>
                <a:gd name="connsiteX1" fmla="*/ 645582 w 688975"/>
                <a:gd name="connsiteY1" fmla="*/ 0 h 803275"/>
                <a:gd name="connsiteX2" fmla="*/ 688975 w 688975"/>
                <a:gd name="connsiteY2" fmla="*/ 43393 h 803275"/>
                <a:gd name="connsiteX3" fmla="*/ 655637 w 688975"/>
                <a:gd name="connsiteY3" fmla="*/ 711200 h 803275"/>
                <a:gd name="connsiteX4" fmla="*/ 428625 w 688975"/>
                <a:gd name="connsiteY4" fmla="*/ 803275 h 803275"/>
                <a:gd name="connsiteX5" fmla="*/ 0 w 688975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55637"/>
                <a:gd name="connsiteY0" fmla="*/ 4763 h 803275"/>
                <a:gd name="connsiteX1" fmla="*/ 645582 w 655637"/>
                <a:gd name="connsiteY1" fmla="*/ 0 h 803275"/>
                <a:gd name="connsiteX2" fmla="*/ 531812 w 655637"/>
                <a:gd name="connsiteY2" fmla="*/ 111655 h 803275"/>
                <a:gd name="connsiteX3" fmla="*/ 655637 w 655637"/>
                <a:gd name="connsiteY3" fmla="*/ 711200 h 803275"/>
                <a:gd name="connsiteX4" fmla="*/ 428625 w 655637"/>
                <a:gd name="connsiteY4" fmla="*/ 803275 h 803275"/>
                <a:gd name="connsiteX5" fmla="*/ 0 w 655637"/>
                <a:gd name="connsiteY5" fmla="*/ 4763 h 803275"/>
                <a:gd name="connsiteX0" fmla="*/ 0 w 666588"/>
                <a:gd name="connsiteY0" fmla="*/ 4763 h 803275"/>
                <a:gd name="connsiteX1" fmla="*/ 645582 w 666588"/>
                <a:gd name="connsiteY1" fmla="*/ 0 h 803275"/>
                <a:gd name="connsiteX2" fmla="*/ 531812 w 666588"/>
                <a:gd name="connsiteY2" fmla="*/ 111655 h 803275"/>
                <a:gd name="connsiteX3" fmla="*/ 655637 w 666588"/>
                <a:gd name="connsiteY3" fmla="*/ 711200 h 803275"/>
                <a:gd name="connsiteX4" fmla="*/ 428625 w 666588"/>
                <a:gd name="connsiteY4" fmla="*/ 803275 h 803275"/>
                <a:gd name="connsiteX5" fmla="*/ 0 w 666588"/>
                <a:gd name="connsiteY5" fmla="*/ 4763 h 803275"/>
                <a:gd name="connsiteX0" fmla="*/ 0 w 666588"/>
                <a:gd name="connsiteY0" fmla="*/ 0 h 798512"/>
                <a:gd name="connsiteX1" fmla="*/ 531812 w 666588"/>
                <a:gd name="connsiteY1" fmla="*/ 106892 h 798512"/>
                <a:gd name="connsiteX2" fmla="*/ 655637 w 666588"/>
                <a:gd name="connsiteY2" fmla="*/ 706437 h 798512"/>
                <a:gd name="connsiteX3" fmla="*/ 428625 w 666588"/>
                <a:gd name="connsiteY3" fmla="*/ 798512 h 798512"/>
                <a:gd name="connsiteX4" fmla="*/ 0 w 666588"/>
                <a:gd name="connsiteY4" fmla="*/ 0 h 798512"/>
                <a:gd name="connsiteX0" fmla="*/ 0 w 666588"/>
                <a:gd name="connsiteY0" fmla="*/ 729 h 799241"/>
                <a:gd name="connsiteX1" fmla="*/ 531812 w 666588"/>
                <a:gd name="connsiteY1" fmla="*/ 107621 h 799241"/>
                <a:gd name="connsiteX2" fmla="*/ 655637 w 666588"/>
                <a:gd name="connsiteY2" fmla="*/ 707166 h 799241"/>
                <a:gd name="connsiteX3" fmla="*/ 428625 w 666588"/>
                <a:gd name="connsiteY3" fmla="*/ 799241 h 799241"/>
                <a:gd name="connsiteX4" fmla="*/ 0 w 666588"/>
                <a:gd name="connsiteY4" fmla="*/ 729 h 799241"/>
                <a:gd name="connsiteX0" fmla="*/ 0 w 666588"/>
                <a:gd name="connsiteY0" fmla="*/ 25688 h 824200"/>
                <a:gd name="connsiteX1" fmla="*/ 531812 w 666588"/>
                <a:gd name="connsiteY1" fmla="*/ 132580 h 824200"/>
                <a:gd name="connsiteX2" fmla="*/ 655637 w 666588"/>
                <a:gd name="connsiteY2" fmla="*/ 732125 h 824200"/>
                <a:gd name="connsiteX3" fmla="*/ 428625 w 666588"/>
                <a:gd name="connsiteY3" fmla="*/ 824200 h 824200"/>
                <a:gd name="connsiteX4" fmla="*/ 0 w 666588"/>
                <a:gd name="connsiteY4" fmla="*/ 25688 h 824200"/>
                <a:gd name="connsiteX0" fmla="*/ 0 w 665353"/>
                <a:gd name="connsiteY0" fmla="*/ 25688 h 824200"/>
                <a:gd name="connsiteX1" fmla="*/ 527049 w 665353"/>
                <a:gd name="connsiteY1" fmla="*/ 132580 h 824200"/>
                <a:gd name="connsiteX2" fmla="*/ 655637 w 665353"/>
                <a:gd name="connsiteY2" fmla="*/ 732125 h 824200"/>
                <a:gd name="connsiteX3" fmla="*/ 428625 w 665353"/>
                <a:gd name="connsiteY3" fmla="*/ 824200 h 824200"/>
                <a:gd name="connsiteX4" fmla="*/ 0 w 665353"/>
                <a:gd name="connsiteY4" fmla="*/ 25688 h 824200"/>
                <a:gd name="connsiteX0" fmla="*/ 0 w 669507"/>
                <a:gd name="connsiteY0" fmla="*/ 25688 h 824200"/>
                <a:gd name="connsiteX1" fmla="*/ 527049 w 669507"/>
                <a:gd name="connsiteY1" fmla="*/ 132580 h 824200"/>
                <a:gd name="connsiteX2" fmla="*/ 655637 w 669507"/>
                <a:gd name="connsiteY2" fmla="*/ 732125 h 824200"/>
                <a:gd name="connsiteX3" fmla="*/ 428625 w 669507"/>
                <a:gd name="connsiteY3" fmla="*/ 824200 h 824200"/>
                <a:gd name="connsiteX4" fmla="*/ 0 w 669507"/>
                <a:gd name="connsiteY4" fmla="*/ 25688 h 824200"/>
                <a:gd name="connsiteX0" fmla="*/ 0 w 677450"/>
                <a:gd name="connsiteY0" fmla="*/ 25688 h 824200"/>
                <a:gd name="connsiteX1" fmla="*/ 527049 w 677450"/>
                <a:gd name="connsiteY1" fmla="*/ 132580 h 824200"/>
                <a:gd name="connsiteX2" fmla="*/ 666749 w 677450"/>
                <a:gd name="connsiteY2" fmla="*/ 728950 h 824200"/>
                <a:gd name="connsiteX3" fmla="*/ 428625 w 677450"/>
                <a:gd name="connsiteY3" fmla="*/ 824200 h 824200"/>
                <a:gd name="connsiteX4" fmla="*/ 0 w 677450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4200"/>
                <a:gd name="connsiteX1" fmla="*/ 527049 w 672511"/>
                <a:gd name="connsiteY1" fmla="*/ 132580 h 824200"/>
                <a:gd name="connsiteX2" fmla="*/ 666749 w 672511"/>
                <a:gd name="connsiteY2" fmla="*/ 728950 h 824200"/>
                <a:gd name="connsiteX3" fmla="*/ 428625 w 672511"/>
                <a:gd name="connsiteY3" fmla="*/ 824200 h 824200"/>
                <a:gd name="connsiteX4" fmla="*/ 0 w 672511"/>
                <a:gd name="connsiteY4" fmla="*/ 25688 h 824200"/>
                <a:gd name="connsiteX0" fmla="*/ 0 w 672511"/>
                <a:gd name="connsiteY0" fmla="*/ 25688 h 829750"/>
                <a:gd name="connsiteX1" fmla="*/ 527049 w 672511"/>
                <a:gd name="connsiteY1" fmla="*/ 132580 h 829750"/>
                <a:gd name="connsiteX2" fmla="*/ 666749 w 672511"/>
                <a:gd name="connsiteY2" fmla="*/ 728950 h 829750"/>
                <a:gd name="connsiteX3" fmla="*/ 428625 w 672511"/>
                <a:gd name="connsiteY3" fmla="*/ 824200 h 829750"/>
                <a:gd name="connsiteX4" fmla="*/ 0 w 672511"/>
                <a:gd name="connsiteY4" fmla="*/ 25688 h 829750"/>
                <a:gd name="connsiteX0" fmla="*/ 0 w 767180"/>
                <a:gd name="connsiteY0" fmla="*/ 3491 h 979425"/>
                <a:gd name="connsiteX1" fmla="*/ 621718 w 767180"/>
                <a:gd name="connsiteY1" fmla="*/ 282255 h 979425"/>
                <a:gd name="connsiteX2" fmla="*/ 761418 w 767180"/>
                <a:gd name="connsiteY2" fmla="*/ 878625 h 979425"/>
                <a:gd name="connsiteX3" fmla="*/ 523294 w 767180"/>
                <a:gd name="connsiteY3" fmla="*/ 973875 h 979425"/>
                <a:gd name="connsiteX4" fmla="*/ 0 w 767180"/>
                <a:gd name="connsiteY4" fmla="*/ 3491 h 979425"/>
                <a:gd name="connsiteX0" fmla="*/ 0 w 767180"/>
                <a:gd name="connsiteY0" fmla="*/ 3491 h 1318717"/>
                <a:gd name="connsiteX1" fmla="*/ 621718 w 767180"/>
                <a:gd name="connsiteY1" fmla="*/ 282255 h 1318717"/>
                <a:gd name="connsiteX2" fmla="*/ 761418 w 767180"/>
                <a:gd name="connsiteY2" fmla="*/ 878625 h 1318717"/>
                <a:gd name="connsiteX3" fmla="*/ 547197 w 767180"/>
                <a:gd name="connsiteY3" fmla="*/ 1317288 h 1318717"/>
                <a:gd name="connsiteX4" fmla="*/ 0 w 767180"/>
                <a:gd name="connsiteY4" fmla="*/ 3491 h 1318717"/>
                <a:gd name="connsiteX0" fmla="*/ 0 w 767180"/>
                <a:gd name="connsiteY0" fmla="*/ 3491 h 1318717"/>
                <a:gd name="connsiteX1" fmla="*/ 621718 w 767180"/>
                <a:gd name="connsiteY1" fmla="*/ 282255 h 1318717"/>
                <a:gd name="connsiteX2" fmla="*/ 761418 w 767180"/>
                <a:gd name="connsiteY2" fmla="*/ 878625 h 1318717"/>
                <a:gd name="connsiteX3" fmla="*/ 547197 w 767180"/>
                <a:gd name="connsiteY3" fmla="*/ 1317288 h 1318717"/>
                <a:gd name="connsiteX4" fmla="*/ 0 w 767180"/>
                <a:gd name="connsiteY4" fmla="*/ 3491 h 1318717"/>
                <a:gd name="connsiteX0" fmla="*/ 0 w 762767"/>
                <a:gd name="connsiteY0" fmla="*/ 2588 h 1317814"/>
                <a:gd name="connsiteX1" fmla="*/ 597081 w 762767"/>
                <a:gd name="connsiteY1" fmla="*/ 334814 h 1317814"/>
                <a:gd name="connsiteX2" fmla="*/ 761418 w 762767"/>
                <a:gd name="connsiteY2" fmla="*/ 877722 h 1317814"/>
                <a:gd name="connsiteX3" fmla="*/ 547197 w 762767"/>
                <a:gd name="connsiteY3" fmla="*/ 1316385 h 1317814"/>
                <a:gd name="connsiteX4" fmla="*/ 0 w 762767"/>
                <a:gd name="connsiteY4" fmla="*/ 2588 h 1317814"/>
                <a:gd name="connsiteX0" fmla="*/ 0 w 884929"/>
                <a:gd name="connsiteY0" fmla="*/ 2588 h 1317624"/>
                <a:gd name="connsiteX1" fmla="*/ 597081 w 884929"/>
                <a:gd name="connsiteY1" fmla="*/ 334814 h 1317624"/>
                <a:gd name="connsiteX2" fmla="*/ 884913 w 884929"/>
                <a:gd name="connsiteY2" fmla="*/ 807364 h 1317624"/>
                <a:gd name="connsiteX3" fmla="*/ 547197 w 884929"/>
                <a:gd name="connsiteY3" fmla="*/ 1316385 h 1317624"/>
                <a:gd name="connsiteX4" fmla="*/ 0 w 884929"/>
                <a:gd name="connsiteY4" fmla="*/ 2588 h 1317624"/>
                <a:gd name="connsiteX0" fmla="*/ 0 w 884930"/>
                <a:gd name="connsiteY0" fmla="*/ 2588 h 1318360"/>
                <a:gd name="connsiteX1" fmla="*/ 597081 w 884930"/>
                <a:gd name="connsiteY1" fmla="*/ 334814 h 1318360"/>
                <a:gd name="connsiteX2" fmla="*/ 884913 w 884930"/>
                <a:gd name="connsiteY2" fmla="*/ 807364 h 1318360"/>
                <a:gd name="connsiteX3" fmla="*/ 547197 w 884930"/>
                <a:gd name="connsiteY3" fmla="*/ 1316385 h 1318360"/>
                <a:gd name="connsiteX4" fmla="*/ 0 w 884930"/>
                <a:gd name="connsiteY4" fmla="*/ 2588 h 1318360"/>
                <a:gd name="connsiteX0" fmla="*/ 0 w 886420"/>
                <a:gd name="connsiteY0" fmla="*/ 2588 h 1318571"/>
                <a:gd name="connsiteX1" fmla="*/ 597081 w 886420"/>
                <a:gd name="connsiteY1" fmla="*/ 334814 h 1318571"/>
                <a:gd name="connsiteX2" fmla="*/ 886403 w 886420"/>
                <a:gd name="connsiteY2" fmla="*/ 840069 h 1318571"/>
                <a:gd name="connsiteX3" fmla="*/ 547197 w 886420"/>
                <a:gd name="connsiteY3" fmla="*/ 1316385 h 1318571"/>
                <a:gd name="connsiteX4" fmla="*/ 0 w 886420"/>
                <a:gd name="connsiteY4" fmla="*/ 2588 h 1318571"/>
                <a:gd name="connsiteX0" fmla="*/ 0 w 886420"/>
                <a:gd name="connsiteY0" fmla="*/ 2588 h 1316385"/>
                <a:gd name="connsiteX1" fmla="*/ 597081 w 886420"/>
                <a:gd name="connsiteY1" fmla="*/ 334814 h 1316385"/>
                <a:gd name="connsiteX2" fmla="*/ 886403 w 886420"/>
                <a:gd name="connsiteY2" fmla="*/ 840069 h 1316385"/>
                <a:gd name="connsiteX3" fmla="*/ 547197 w 886420"/>
                <a:gd name="connsiteY3" fmla="*/ 1316385 h 1316385"/>
                <a:gd name="connsiteX4" fmla="*/ 0 w 886420"/>
                <a:gd name="connsiteY4" fmla="*/ 2588 h 1316385"/>
                <a:gd name="connsiteX0" fmla="*/ 0 w 886422"/>
                <a:gd name="connsiteY0" fmla="*/ 2271 h 1316068"/>
                <a:gd name="connsiteX1" fmla="*/ 606740 w 886422"/>
                <a:gd name="connsiteY1" fmla="*/ 362943 h 1316068"/>
                <a:gd name="connsiteX2" fmla="*/ 886403 w 886422"/>
                <a:gd name="connsiteY2" fmla="*/ 839752 h 1316068"/>
                <a:gd name="connsiteX3" fmla="*/ 547197 w 886422"/>
                <a:gd name="connsiteY3" fmla="*/ 1316068 h 1316068"/>
                <a:gd name="connsiteX4" fmla="*/ 0 w 886422"/>
                <a:gd name="connsiteY4" fmla="*/ 2271 h 1316068"/>
                <a:gd name="connsiteX0" fmla="*/ 0 w 886422"/>
                <a:gd name="connsiteY0" fmla="*/ 2741 h 1316538"/>
                <a:gd name="connsiteX1" fmla="*/ 606740 w 886422"/>
                <a:gd name="connsiteY1" fmla="*/ 363413 h 1316538"/>
                <a:gd name="connsiteX2" fmla="*/ 886403 w 886422"/>
                <a:gd name="connsiteY2" fmla="*/ 840222 h 1316538"/>
                <a:gd name="connsiteX3" fmla="*/ 547197 w 886422"/>
                <a:gd name="connsiteY3" fmla="*/ 1316538 h 1316538"/>
                <a:gd name="connsiteX4" fmla="*/ 0 w 886422"/>
                <a:gd name="connsiteY4" fmla="*/ 2741 h 1316538"/>
                <a:gd name="connsiteX0" fmla="*/ 0 w 886446"/>
                <a:gd name="connsiteY0" fmla="*/ 2741 h 1316538"/>
                <a:gd name="connsiteX1" fmla="*/ 606740 w 886446"/>
                <a:gd name="connsiteY1" fmla="*/ 363413 h 1316538"/>
                <a:gd name="connsiteX2" fmla="*/ 886403 w 886446"/>
                <a:gd name="connsiteY2" fmla="*/ 840222 h 1316538"/>
                <a:gd name="connsiteX3" fmla="*/ 547197 w 886446"/>
                <a:gd name="connsiteY3" fmla="*/ 1316538 h 1316538"/>
                <a:gd name="connsiteX4" fmla="*/ 0 w 886446"/>
                <a:gd name="connsiteY4" fmla="*/ 2741 h 1316538"/>
                <a:gd name="connsiteX0" fmla="*/ 0 w 886447"/>
                <a:gd name="connsiteY0" fmla="*/ 2741 h 1316538"/>
                <a:gd name="connsiteX1" fmla="*/ 606740 w 886447"/>
                <a:gd name="connsiteY1" fmla="*/ 363413 h 1316538"/>
                <a:gd name="connsiteX2" fmla="*/ 886403 w 886447"/>
                <a:gd name="connsiteY2" fmla="*/ 840222 h 1316538"/>
                <a:gd name="connsiteX3" fmla="*/ 547197 w 886447"/>
                <a:gd name="connsiteY3" fmla="*/ 1316538 h 1316538"/>
                <a:gd name="connsiteX4" fmla="*/ 0 w 886447"/>
                <a:gd name="connsiteY4" fmla="*/ 2741 h 1316538"/>
                <a:gd name="connsiteX0" fmla="*/ 0 w 886447"/>
                <a:gd name="connsiteY0" fmla="*/ 2741 h 1316538"/>
                <a:gd name="connsiteX1" fmla="*/ 606740 w 886447"/>
                <a:gd name="connsiteY1" fmla="*/ 363413 h 1316538"/>
                <a:gd name="connsiteX2" fmla="*/ 886403 w 886447"/>
                <a:gd name="connsiteY2" fmla="*/ 840222 h 1316538"/>
                <a:gd name="connsiteX3" fmla="*/ 547197 w 886447"/>
                <a:gd name="connsiteY3" fmla="*/ 1316538 h 1316538"/>
                <a:gd name="connsiteX4" fmla="*/ 0 w 886447"/>
                <a:gd name="connsiteY4" fmla="*/ 2741 h 1316538"/>
                <a:gd name="connsiteX0" fmla="*/ 0 w 879886"/>
                <a:gd name="connsiteY0" fmla="*/ 2795 h 1312862"/>
                <a:gd name="connsiteX1" fmla="*/ 600179 w 879886"/>
                <a:gd name="connsiteY1" fmla="*/ 359737 h 1312862"/>
                <a:gd name="connsiteX2" fmla="*/ 879842 w 879886"/>
                <a:gd name="connsiteY2" fmla="*/ 836546 h 1312862"/>
                <a:gd name="connsiteX3" fmla="*/ 540636 w 879886"/>
                <a:gd name="connsiteY3" fmla="*/ 1312862 h 1312862"/>
                <a:gd name="connsiteX4" fmla="*/ 0 w 879886"/>
                <a:gd name="connsiteY4" fmla="*/ 2795 h 1312862"/>
                <a:gd name="connsiteX0" fmla="*/ 0 w 879886"/>
                <a:gd name="connsiteY0" fmla="*/ 2795 h 1312862"/>
                <a:gd name="connsiteX1" fmla="*/ 600179 w 879886"/>
                <a:gd name="connsiteY1" fmla="*/ 359737 h 1312862"/>
                <a:gd name="connsiteX2" fmla="*/ 879842 w 879886"/>
                <a:gd name="connsiteY2" fmla="*/ 836546 h 1312862"/>
                <a:gd name="connsiteX3" fmla="*/ 540636 w 879886"/>
                <a:gd name="connsiteY3" fmla="*/ 1312862 h 1312862"/>
                <a:gd name="connsiteX4" fmla="*/ 0 w 879886"/>
                <a:gd name="connsiteY4" fmla="*/ 2795 h 1312862"/>
                <a:gd name="connsiteX0" fmla="*/ 0 w 879888"/>
                <a:gd name="connsiteY0" fmla="*/ 2916 h 1312983"/>
                <a:gd name="connsiteX1" fmla="*/ 601789 w 879888"/>
                <a:gd name="connsiteY1" fmla="*/ 351872 h 1312983"/>
                <a:gd name="connsiteX2" fmla="*/ 879842 w 879888"/>
                <a:gd name="connsiteY2" fmla="*/ 836667 h 1312983"/>
                <a:gd name="connsiteX3" fmla="*/ 540636 w 879888"/>
                <a:gd name="connsiteY3" fmla="*/ 1312983 h 1312983"/>
                <a:gd name="connsiteX4" fmla="*/ 0 w 879888"/>
                <a:gd name="connsiteY4" fmla="*/ 2916 h 1312983"/>
                <a:gd name="connsiteX0" fmla="*/ 0 w 879888"/>
                <a:gd name="connsiteY0" fmla="*/ 0 h 1310067"/>
                <a:gd name="connsiteX1" fmla="*/ 601789 w 879888"/>
                <a:gd name="connsiteY1" fmla="*/ 348956 h 1310067"/>
                <a:gd name="connsiteX2" fmla="*/ 879842 w 879888"/>
                <a:gd name="connsiteY2" fmla="*/ 833751 h 1310067"/>
                <a:gd name="connsiteX3" fmla="*/ 540636 w 879888"/>
                <a:gd name="connsiteY3" fmla="*/ 1310067 h 1310067"/>
                <a:gd name="connsiteX4" fmla="*/ 0 w 879888"/>
                <a:gd name="connsiteY4" fmla="*/ 0 h 131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9888" h="1310067">
                  <a:moveTo>
                    <a:pt x="0" y="0"/>
                  </a:moveTo>
                  <a:cubicBezTo>
                    <a:pt x="184972" y="33155"/>
                    <a:pt x="401710" y="127876"/>
                    <a:pt x="601789" y="348956"/>
                  </a:cubicBezTo>
                  <a:cubicBezTo>
                    <a:pt x="843316" y="605388"/>
                    <a:pt x="881429" y="791065"/>
                    <a:pt x="879842" y="833751"/>
                  </a:cubicBezTo>
                  <a:cubicBezTo>
                    <a:pt x="683956" y="1062310"/>
                    <a:pt x="616208" y="1223734"/>
                    <a:pt x="540636" y="1310067"/>
                  </a:cubicBezTo>
                  <a:cubicBezTo>
                    <a:pt x="454653" y="758735"/>
                    <a:pt x="292745" y="288885"/>
                    <a:pt x="0" y="0"/>
                  </a:cubicBezTo>
                  <a:close/>
                </a:path>
              </a:pathLst>
            </a:custGeom>
            <a:solidFill>
              <a:srgbClr val="50A0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2700"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16" name="Title 7">
            <a:extLst>
              <a:ext uri="{FF2B5EF4-FFF2-40B4-BE49-F238E27FC236}">
                <a16:creationId xmlns:a16="http://schemas.microsoft.com/office/drawing/2014/main" id="{969A9A62-1951-AC43-AAF2-E13BA5267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9" y="4655887"/>
            <a:ext cx="7893919" cy="1167721"/>
          </a:xfrm>
        </p:spPr>
        <p:txBody>
          <a:bodyPr vert="horz"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n>
                  <a:noFill/>
                </a:ln>
                <a:solidFill>
                  <a:schemeClr val="bg2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r>
              <a:rPr lang="en-US"/>
              <a:t>Title</a:t>
            </a:r>
            <a:endParaRPr lang="en-SA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B88803-455E-6548-9F79-BC4D25268C51}"/>
              </a:ext>
            </a:extLst>
          </p:cNvPr>
          <p:cNvSpPr/>
          <p:nvPr userDrawn="1"/>
        </p:nvSpPr>
        <p:spPr>
          <a:xfrm>
            <a:off x="4970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2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FEB0385-06A2-4B70-8830-F5DBA251ECA6}"/>
              </a:ext>
            </a:extLst>
          </p:cNvPr>
          <p:cNvCxnSpPr>
            <a:cxnSpLocks/>
          </p:cNvCxnSpPr>
          <p:nvPr userDrawn="1"/>
        </p:nvCxnSpPr>
        <p:spPr>
          <a:xfrm>
            <a:off x="11389093" y="4655887"/>
            <a:ext cx="0" cy="1167721"/>
          </a:xfrm>
          <a:prstGeom prst="line">
            <a:avLst/>
          </a:prstGeom>
          <a:ln w="76200">
            <a:solidFill>
              <a:srgbClr val="11676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12" name="Picture 4" descr="وزارة الموارد البشرية والتنمية الاجتماعية">
            <a:extLst>
              <a:ext uri="{FF2B5EF4-FFF2-40B4-BE49-F238E27FC236}">
                <a16:creationId xmlns:a16="http://schemas.microsoft.com/office/drawing/2014/main" id="{FA9CCCAA-BA37-4D7D-BF95-30DAFE00B9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13" y="34283"/>
            <a:ext cx="2748404" cy="1596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0859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1.png">
            <a:extLst>
              <a:ext uri="{FF2B5EF4-FFF2-40B4-BE49-F238E27FC236}">
                <a16:creationId xmlns:a16="http://schemas.microsoft.com/office/drawing/2014/main" id="{D93F8211-CC88-D036-75ED-FAACB3F5EB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25533"/>
          <a:stretch>
            <a:fillRect/>
          </a:stretch>
        </p:blipFill>
        <p:spPr>
          <a:xfrm rot="10800000">
            <a:off x="8981969" y="3812653"/>
            <a:ext cx="3207699" cy="304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1.png">
            <a:extLst>
              <a:ext uri="{FF2B5EF4-FFF2-40B4-BE49-F238E27FC236}">
                <a16:creationId xmlns:a16="http://schemas.microsoft.com/office/drawing/2014/main" id="{2AF83D61-823C-5BE8-B85A-27871E4B3A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25533"/>
          <a:stretch>
            <a:fillRect/>
          </a:stretch>
        </p:blipFill>
        <p:spPr>
          <a:xfrm>
            <a:off x="2333" y="2"/>
            <a:ext cx="6415397" cy="609069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ounded Rectangle">
            <a:extLst>
              <a:ext uri="{FF2B5EF4-FFF2-40B4-BE49-F238E27FC236}">
                <a16:creationId xmlns:a16="http://schemas.microsoft.com/office/drawing/2014/main" id="{5856148C-691E-F701-9084-D3A15F87C923}"/>
              </a:ext>
            </a:extLst>
          </p:cNvPr>
          <p:cNvSpPr/>
          <p:nvPr userDrawn="1"/>
        </p:nvSpPr>
        <p:spPr>
          <a:xfrm>
            <a:off x="209120" y="6296251"/>
            <a:ext cx="11773760" cy="466238"/>
          </a:xfrm>
          <a:prstGeom prst="roundRect">
            <a:avLst>
              <a:gd name="adj" fmla="val 25884"/>
            </a:avLst>
          </a:prstGeom>
          <a:solidFill>
            <a:srgbClr val="F9F9F9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6F65BE3F-EB9D-498C-8FC5-933BD1FADD48}"/>
              </a:ext>
            </a:extLst>
          </p:cNvPr>
          <p:cNvSpPr/>
          <p:nvPr userDrawn="1"/>
        </p:nvSpPr>
        <p:spPr>
          <a:xfrm>
            <a:off x="1231271" y="1076218"/>
            <a:ext cx="10009352" cy="45719"/>
          </a:xfrm>
          <a:prstGeom prst="rect">
            <a:avLst/>
          </a:prstGeom>
          <a:solidFill>
            <a:srgbClr val="1A81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00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4B5A05CC-A8F6-7849-90AD-5003358553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50" y="242995"/>
            <a:ext cx="2814906" cy="5715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496E1F-CF3D-D018-0626-8B1FD879B6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9562" y="6388010"/>
            <a:ext cx="580826" cy="3018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AC93762-C810-C2C3-988E-96B47C11DCDD}"/>
              </a:ext>
            </a:extLst>
          </p:cNvPr>
          <p:cNvSpPr txBox="1"/>
          <p:nvPr userDrawn="1"/>
        </p:nvSpPr>
        <p:spPr>
          <a:xfrm>
            <a:off x="11457432" y="6356352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marL="0" algn="l" defTabSz="914400" rtl="0" eaLnBrk="1" latinLnBrk="0" hangingPunct="1"/>
              <a:t>‹#›</a:t>
            </a:fld>
            <a:endParaRPr lang="x-none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28867F-3779-3DD0-2DB2-9E67FD77370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37273" y="154993"/>
            <a:ext cx="1044068" cy="776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8318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6043C5-E0B4-8C4F-8F7D-18087948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DC2DD-549D-E34E-941E-3F4F59F6D307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4B5A05CC-A8F6-7849-90AD-50033585536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50" y="242995"/>
            <a:ext cx="2814906" cy="57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0306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6043C5-E0B4-8C4F-8F7D-18087948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DC2DD-549D-E34E-941E-3F4F59F6D307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8" name="مستطيل 19">
            <a:extLst>
              <a:ext uri="{FF2B5EF4-FFF2-40B4-BE49-F238E27FC236}">
                <a16:creationId xmlns:a16="http://schemas.microsoft.com/office/drawing/2014/main" id="{06432C36-ADAC-415B-AAAE-06D0C1E4AEB7}"/>
              </a:ext>
            </a:extLst>
          </p:cNvPr>
          <p:cNvSpPr/>
          <p:nvPr userDrawn="1"/>
        </p:nvSpPr>
        <p:spPr>
          <a:xfrm>
            <a:off x="0" y="6614894"/>
            <a:ext cx="12192000" cy="257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 sz="2700"/>
          </a:p>
        </p:txBody>
      </p:sp>
    </p:spTree>
    <p:extLst>
      <p:ext uri="{BB962C8B-B14F-4D97-AF65-F5344CB8AC3E}">
        <p14:creationId xmlns:p14="http://schemas.microsoft.com/office/powerpoint/2010/main" val="386744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D2091DC-3C2C-9C48-B489-1B8067220F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6B7F86-E1CC-4A49-AF49-143E572B266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656080" y="1825625"/>
            <a:ext cx="436372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EFD2F4-7090-0D44-8B4B-69E3396B4EC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90080" y="1825625"/>
            <a:ext cx="436372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5B3012-413B-9546-8202-0792052032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324CB1-0BEE-C64F-B9DE-EE35A13F4B47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145327-1AF5-1147-A640-E32D1D7A84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832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8F376AE-BEB0-2D44-A112-092EE0E9CB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4764024"/>
            <a:ext cx="6096000" cy="2093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none" sz="2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34200" y="1024127"/>
            <a:ext cx="4419600" cy="51528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9E857AA-5F9B-8A49-A239-0376C5D083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1024123"/>
            <a:ext cx="3413760" cy="5152835"/>
          </a:xfrm>
        </p:spPr>
        <p:txBody>
          <a:bodyPr/>
          <a:lstStyle>
            <a:lvl1pPr marL="114300" indent="-114300" algn="l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x-non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FCAB7D-C65B-124D-B97B-44EBF5F16190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9D7DBB-77E3-2B40-9CD1-437A19ED0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1664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3B72E0-3840-AB4C-8176-D4A6D72E078A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3ECA8B-8D87-A042-89B1-ED83A21E6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195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5" y="683878"/>
            <a:ext cx="2717033" cy="834026"/>
          </a:xfrm>
          <a:prstGeom prst="rect">
            <a:avLst/>
          </a:prstGeom>
        </p:spPr>
      </p:pic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x-none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8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x-none"/>
          </a:p>
        </p:txBody>
      </p:sp>
      <p:sp>
        <p:nvSpPr>
          <p:cNvPr id="15" name="Subtitle 4">
            <a:extLst>
              <a:ext uri="{FF2B5EF4-FFF2-40B4-BE49-F238E27FC236}">
                <a16:creationId xmlns:a16="http://schemas.microsoft.com/office/drawing/2014/main" id="{4C59BF72-2AB0-6F48-A445-ECF873892A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8" y="4882920"/>
            <a:ext cx="3759639" cy="283440"/>
          </a:xfrm>
        </p:spPr>
        <p:txBody>
          <a:bodyPr/>
          <a:lstStyle>
            <a:lvl1pPr>
              <a:buNone/>
              <a:defRPr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كلمة الختام </a:t>
            </a:r>
            <a:endParaRPr lang="x-none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5EFDBB-C146-4543-949B-5A2E140F2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0" y="3648458"/>
            <a:ext cx="6018206" cy="1167721"/>
          </a:xfrm>
        </p:spPr>
        <p:txBody>
          <a:bodyPr/>
          <a:lstStyle/>
          <a:p>
            <a:r>
              <a:rPr lang="ar-SA">
                <a:solidFill>
                  <a:schemeClr val="accent5"/>
                </a:solidFill>
              </a:rPr>
              <a:t>شكراً لكم</a:t>
            </a:r>
            <a:endParaRPr lang="x-none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831CEE-5FC8-0447-91AF-D194A87F33FF}"/>
              </a:ext>
            </a:extLst>
          </p:cNvPr>
          <p:cNvSpPr/>
          <p:nvPr userDrawn="1"/>
        </p:nvSpPr>
        <p:spPr>
          <a:xfrm>
            <a:off x="9307809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1017838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5" y="683878"/>
            <a:ext cx="2717033" cy="83402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9BF7F8A9-6758-254B-8C99-57FDA6618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8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x-none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x-none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16FF9810-8FAF-9A42-BED6-345FCB515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8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tx2"/>
                </a:solidFill>
                <a:latin typeface="29LT Bukra Regular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التقديمي</a:t>
            </a:r>
            <a:endParaRPr lang="x-none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8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x-non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DB4F1C-4483-1C4C-8B04-0CF98E77587B}"/>
              </a:ext>
            </a:extLst>
          </p:cNvPr>
          <p:cNvSpPr/>
          <p:nvPr userDrawn="1"/>
        </p:nvSpPr>
        <p:spPr>
          <a:xfrm>
            <a:off x="9307809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503163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2696E64-78C1-5A33-EB29-9356A23E1A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457200" rtl="1" eaLnBrk="1" latinLnBrk="0" hangingPunct="1"/>
            <a:endParaRPr lang="en-US" sz="9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7FD271-AE73-C94D-A7FE-6D4FB8357F55}"/>
              </a:ext>
            </a:extLst>
          </p:cNvPr>
          <p:cNvSpPr/>
          <p:nvPr userDrawn="1"/>
        </p:nvSpPr>
        <p:spPr>
          <a:xfrm>
            <a:off x="756217" y="4685355"/>
            <a:ext cx="5615870" cy="1466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x-none" sz="2700">
              <a:solidFill>
                <a:schemeClr val="accent5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6F631CF-B958-C74B-A289-5649599D46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0176" y="4850894"/>
            <a:ext cx="5615870" cy="635506"/>
          </a:xfrm>
        </p:spPr>
        <p:txBody>
          <a:bodyPr lIns="0" tIns="0" rIns="0" bIns="0" anchor="b" anchorCtr="0">
            <a:noAutofit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/>
              <a:t>مثال لفاصل داخلي</a:t>
            </a:r>
            <a:endParaRPr lang="x-none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DD344F2-757D-9C41-90FB-3D266A40AC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9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x-none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61CE712-DAC8-E14B-9C33-A476403D74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8089" y="645569"/>
            <a:ext cx="1747958" cy="932749"/>
          </a:xfrm>
        </p:spPr>
        <p:txBody>
          <a:bodyPr lIns="0" tIns="0" rIns="0" bIns="0" anchor="t" anchorCtr="0"/>
          <a:lstStyle>
            <a:lvl1pPr marL="0" indent="0" rtl="1">
              <a:buFontTx/>
              <a:buNone/>
              <a:defRPr sz="6000" b="0" i="0">
                <a:solidFill>
                  <a:schemeClr val="accent4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pPr marL="0" lv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01</a:t>
            </a:r>
            <a:endParaRPr lang="x-non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7A3AA-35FC-584D-9472-95E627C02B21}"/>
              </a:ext>
            </a:extLst>
          </p:cNvPr>
          <p:cNvSpPr/>
          <p:nvPr userDrawn="1"/>
        </p:nvSpPr>
        <p:spPr>
          <a:xfrm>
            <a:off x="9255024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4" name="image1.png">
            <a:extLst>
              <a:ext uri="{FF2B5EF4-FFF2-40B4-BE49-F238E27FC236}">
                <a16:creationId xmlns:a16="http://schemas.microsoft.com/office/drawing/2014/main" id="{630EE0EF-0A88-8CF6-9AC9-F4BE4395E5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rcRect r="25533"/>
          <a:stretch>
            <a:fillRect/>
          </a:stretch>
        </p:blipFill>
        <p:spPr>
          <a:xfrm rot="10800000">
            <a:off x="8981969" y="3812653"/>
            <a:ext cx="3207699" cy="304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image1.png">
            <a:extLst>
              <a:ext uri="{FF2B5EF4-FFF2-40B4-BE49-F238E27FC236}">
                <a16:creationId xmlns:a16="http://schemas.microsoft.com/office/drawing/2014/main" id="{F477E2FF-B0BB-F138-C699-9942F0C756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rcRect r="25533"/>
          <a:stretch>
            <a:fillRect/>
          </a:stretch>
        </p:blipFill>
        <p:spPr>
          <a:xfrm>
            <a:off x="2333" y="2"/>
            <a:ext cx="6415397" cy="60906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118256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FF1CAF3-D45D-0E4C-8F0D-AF3A688BB2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D379-DD63-FD48-9C4B-53812521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A3573-EBF7-0C4E-B8B4-16AF0713A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0E11C0D-3313-4F49-9FAB-7362151FB9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65700" cy="6858000"/>
          </a:xfrm>
        </p:spPr>
        <p:txBody>
          <a:bodyPr/>
          <a:lstStyle>
            <a:lvl1pPr marL="114300" indent="-114300" algn="l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x-non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F21E63-F7B3-F747-BD8A-098F649057CA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ق 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محفوظة لـ وزارة الموارد البشرية والتنمية الاجتماعية 2020 ©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358A93-140A-6043-9F7F-D16AB0477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438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0491B8-38DE-4FA2-8957-33FF29D55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23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0491B8-38DE-4FA2-8957-33FF29D55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ED239514-D954-4204-A7CE-EA47A38D4BEF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A2430">
              <a:alpha val="8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B88803-455E-6548-9F79-BC4D25268C51}"/>
              </a:ext>
            </a:extLst>
          </p:cNvPr>
          <p:cNvSpPr/>
          <p:nvPr userDrawn="1"/>
        </p:nvSpPr>
        <p:spPr>
          <a:xfrm>
            <a:off x="4970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2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684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&amp; Pic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4E3B32F-4F76-5E4C-B567-B7E0A67AFE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accent4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D379-DD63-FD48-9C4B-53812521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A3573-EBF7-0C4E-B8B4-16AF0713A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endParaRPr lang="x-none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0E11C0D-3313-4F49-9FAB-7362151FB9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65700" cy="6858000"/>
          </a:xfrm>
        </p:spPr>
        <p:txBody>
          <a:bodyPr/>
          <a:lstStyle>
            <a:lvl1pPr marL="114300" indent="-114300" algn="l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x-non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581033-3AD9-4542-B4BD-542517A42183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4184C-614D-9044-86FA-36E2FB66E1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289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x-none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2" y="1825625"/>
            <a:ext cx="3578711" cy="435133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942290-E911-8149-94AF-51D7391494AF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7B3375-8892-F740-8B38-145807AE63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1462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B56387-2A07-874E-99BC-6133BC32E5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x-none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5"/>
            <a:ext cx="46482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2" y="1825625"/>
            <a:ext cx="3578711" cy="4351338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100">
                <a:solidFill>
                  <a:schemeClr val="accent1"/>
                </a:solidFill>
              </a:defRPr>
            </a:lvl4pPr>
            <a:lvl5pPr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54EC99-96E8-5647-BF9C-6C3C7CDE4FBA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B7CD86-1D3B-3046-B140-6C8036DA94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7316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E944D75-588C-E648-944D-68D7E1002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76E6828-3398-0E41-A5A8-48A4169B2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9431" y="836613"/>
            <a:ext cx="9394371" cy="861558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B4F194-0DF6-A141-80C8-EE63F457204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59431" y="1825625"/>
            <a:ext cx="9394371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8EF1C4-63A1-9148-A72E-E9BD0A5E7B79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FC5E06-37E8-FD4D-9533-F3AD333AB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38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1.png">
            <a:extLst>
              <a:ext uri="{FF2B5EF4-FFF2-40B4-BE49-F238E27FC236}">
                <a16:creationId xmlns:a16="http://schemas.microsoft.com/office/drawing/2014/main" id="{D93F8211-CC88-D036-75ED-FAACB3F5EB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25533"/>
          <a:stretch>
            <a:fillRect/>
          </a:stretch>
        </p:blipFill>
        <p:spPr>
          <a:xfrm rot="10800000">
            <a:off x="8981969" y="3812653"/>
            <a:ext cx="3207699" cy="304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1.png">
            <a:extLst>
              <a:ext uri="{FF2B5EF4-FFF2-40B4-BE49-F238E27FC236}">
                <a16:creationId xmlns:a16="http://schemas.microsoft.com/office/drawing/2014/main" id="{2AF83D61-823C-5BE8-B85A-27871E4B3A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25533"/>
          <a:stretch>
            <a:fillRect/>
          </a:stretch>
        </p:blipFill>
        <p:spPr>
          <a:xfrm>
            <a:off x="2333" y="2"/>
            <a:ext cx="6415397" cy="609069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ounded Rectangle">
            <a:extLst>
              <a:ext uri="{FF2B5EF4-FFF2-40B4-BE49-F238E27FC236}">
                <a16:creationId xmlns:a16="http://schemas.microsoft.com/office/drawing/2014/main" id="{5856148C-691E-F701-9084-D3A15F87C923}"/>
              </a:ext>
            </a:extLst>
          </p:cNvPr>
          <p:cNvSpPr/>
          <p:nvPr userDrawn="1"/>
        </p:nvSpPr>
        <p:spPr>
          <a:xfrm>
            <a:off x="209120" y="6296251"/>
            <a:ext cx="11773760" cy="466238"/>
          </a:xfrm>
          <a:prstGeom prst="roundRect">
            <a:avLst>
              <a:gd name="adj" fmla="val 25884"/>
            </a:avLst>
          </a:prstGeom>
          <a:solidFill>
            <a:srgbClr val="F9F9F9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6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6F65BE3F-EB9D-498C-8FC5-933BD1FADD48}"/>
              </a:ext>
            </a:extLst>
          </p:cNvPr>
          <p:cNvSpPr/>
          <p:nvPr userDrawn="1"/>
        </p:nvSpPr>
        <p:spPr>
          <a:xfrm>
            <a:off x="1231271" y="1076218"/>
            <a:ext cx="10009352" cy="45719"/>
          </a:xfrm>
          <a:prstGeom prst="rect">
            <a:avLst/>
          </a:prstGeom>
          <a:solidFill>
            <a:srgbClr val="1A81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700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4B5A05CC-A8F6-7849-90AD-5003358553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50" y="242995"/>
            <a:ext cx="2814906" cy="5715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496E1F-CF3D-D018-0626-8B1FD879B63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9562" y="6388010"/>
            <a:ext cx="580826" cy="3018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AC93762-C810-C2C3-988E-96B47C11DCDD}"/>
              </a:ext>
            </a:extLst>
          </p:cNvPr>
          <p:cNvSpPr txBox="1"/>
          <p:nvPr userDrawn="1"/>
        </p:nvSpPr>
        <p:spPr>
          <a:xfrm>
            <a:off x="11457432" y="6356352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marL="0" algn="l" defTabSz="914400" rtl="0" eaLnBrk="1" latinLnBrk="0" hangingPunct="1"/>
              <a:t>‹#›</a:t>
            </a:fld>
            <a:endParaRPr lang="x-none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28867F-3779-3DD0-2DB2-9E67FD77370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037273" y="154993"/>
            <a:ext cx="1044068" cy="776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1517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6043C5-E0B4-8C4F-8F7D-18087948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DC2DD-549D-E34E-941E-3F4F59F6D307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4B5A05CC-A8F6-7849-90AD-50033585536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50" y="242995"/>
            <a:ext cx="2814906" cy="57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198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6043C5-E0B4-8C4F-8F7D-18087948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DC2DD-549D-E34E-941E-3F4F59F6D307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8" name="مستطيل 19">
            <a:extLst>
              <a:ext uri="{FF2B5EF4-FFF2-40B4-BE49-F238E27FC236}">
                <a16:creationId xmlns:a16="http://schemas.microsoft.com/office/drawing/2014/main" id="{06432C36-ADAC-415B-AAAE-06D0C1E4AEB7}"/>
              </a:ext>
            </a:extLst>
          </p:cNvPr>
          <p:cNvSpPr/>
          <p:nvPr userDrawn="1"/>
        </p:nvSpPr>
        <p:spPr>
          <a:xfrm>
            <a:off x="0" y="6614894"/>
            <a:ext cx="12192000" cy="257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 sz="2700"/>
          </a:p>
        </p:txBody>
      </p:sp>
    </p:spTree>
    <p:extLst>
      <p:ext uri="{BB962C8B-B14F-4D97-AF65-F5344CB8AC3E}">
        <p14:creationId xmlns:p14="http://schemas.microsoft.com/office/powerpoint/2010/main" val="13657416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D2091DC-3C2C-9C48-B489-1B8067220F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6B7F86-E1CC-4A49-AF49-143E572B266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656080" y="1825625"/>
            <a:ext cx="436372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EFD2F4-7090-0D44-8B4B-69E3396B4EC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90080" y="1825625"/>
            <a:ext cx="436372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5B3012-413B-9546-8202-0792052032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5"/>
            <a:ext cx="10515600" cy="854075"/>
          </a:xfrm>
        </p:spPr>
        <p:txBody>
          <a:bodyPr/>
          <a:lstStyle>
            <a:lvl1pPr>
              <a:defRPr sz="2400" b="0" i="0"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324CB1-0BEE-C64F-B9DE-EE35A13F4B47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145327-1AF5-1147-A640-E32D1D7A84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9440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8F376AE-BEB0-2D44-A112-092EE0E9CB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4764024"/>
            <a:ext cx="6096000" cy="2093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x-none" sz="2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34200" y="1024127"/>
            <a:ext cx="4419600" cy="51528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9E857AA-5F9B-8A49-A239-0376C5D083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1024123"/>
            <a:ext cx="3413760" cy="5152835"/>
          </a:xfrm>
        </p:spPr>
        <p:txBody>
          <a:bodyPr/>
          <a:lstStyle>
            <a:lvl1pPr marL="114300" indent="-114300" algn="l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x-non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FCAB7D-C65B-124D-B97B-44EBF5F16190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9D7DBB-77E3-2B40-9CD1-437A19ED0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22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3B72E0-3840-AB4C-8176-D4A6D72E078A}"/>
              </a:ext>
            </a:extLst>
          </p:cNvPr>
          <p:cNvSpPr/>
          <p:nvPr userDrawn="1"/>
        </p:nvSpPr>
        <p:spPr>
          <a:xfrm>
            <a:off x="194326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3ECA8B-8D87-A042-89B1-ED83A21E6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62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3F9B8-3591-431E-B808-01EB87053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89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3F9B8-3591-431E-B808-01EB87053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0C09DCD-F004-E942-B9EA-75D9EA28C5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19050"/>
            <a:ext cx="12192000" cy="68199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D271-AE73-C94D-A7FE-6D4FB8357F55}"/>
              </a:ext>
            </a:extLst>
          </p:cNvPr>
          <p:cNvSpPr/>
          <p:nvPr userDrawn="1"/>
        </p:nvSpPr>
        <p:spPr>
          <a:xfrm>
            <a:off x="694150" y="4685355"/>
            <a:ext cx="5615870" cy="1466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l" defTabSz="914400" rtl="0" eaLnBrk="1" latinLnBrk="0" hangingPunct="1"/>
            <a:endParaRPr lang="en-SA" sz="2700">
              <a:solidFill>
                <a:schemeClr val="accent5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6F631CF-B958-C74B-A289-5649599D46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150" y="4850894"/>
            <a:ext cx="5615870" cy="635506"/>
          </a:xfrm>
        </p:spPr>
        <p:txBody>
          <a:bodyPr vert="horz" lIns="0" tIns="0" rIns="0" bIns="0" anchor="b" anchorCtr="0">
            <a:noAutofit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2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Section Title</a:t>
            </a:r>
            <a:endParaRPr lang="en-SA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DD344F2-757D-9C41-90FB-3D266A40AC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151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solidFill>
                  <a:schemeClr val="accent2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tion Subtitle</a:t>
            </a:r>
            <a:endParaRPr lang="en-SA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61CE712-DAC8-E14B-9C33-A476403D74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150" y="645568"/>
            <a:ext cx="1747958" cy="932749"/>
          </a:xfrm>
        </p:spPr>
        <p:txBody>
          <a:bodyPr lIns="0" tIns="0" rIns="0" bIns="0" anchor="t" anchorCtr="0"/>
          <a:lstStyle>
            <a:lvl1pPr marL="0" indent="0" algn="l" rtl="0">
              <a:buFontTx/>
              <a:buNone/>
              <a:defRPr sz="6000" b="0" i="0">
                <a:solidFill>
                  <a:schemeClr val="accent4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pPr marL="0" lv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01</a:t>
            </a:r>
            <a:endParaRPr lang="en-S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3B1A4BE-73A2-454E-90FF-3EDCC41F1FAF}"/>
              </a:ext>
            </a:extLst>
          </p:cNvPr>
          <p:cNvSpPr/>
          <p:nvPr userDrawn="1"/>
        </p:nvSpPr>
        <p:spPr>
          <a:xfrm>
            <a:off x="2303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0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9663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5" y="683878"/>
            <a:ext cx="2717033" cy="834026"/>
          </a:xfrm>
          <a:prstGeom prst="rect">
            <a:avLst/>
          </a:prstGeom>
        </p:spPr>
      </p:pic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x-none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8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 Regular" panose="020B0504040000000004" pitchFamily="34" charset="-78"/>
                <a:cs typeface="29LT Bukra Regular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x-none"/>
          </a:p>
        </p:txBody>
      </p:sp>
      <p:sp>
        <p:nvSpPr>
          <p:cNvPr id="15" name="Subtitle 4">
            <a:extLst>
              <a:ext uri="{FF2B5EF4-FFF2-40B4-BE49-F238E27FC236}">
                <a16:creationId xmlns:a16="http://schemas.microsoft.com/office/drawing/2014/main" id="{4C59BF72-2AB0-6F48-A445-ECF873892A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8" y="4882920"/>
            <a:ext cx="3759639" cy="283440"/>
          </a:xfrm>
        </p:spPr>
        <p:txBody>
          <a:bodyPr/>
          <a:lstStyle>
            <a:lvl1pPr>
              <a:buNone/>
              <a:defRPr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كلمة الختام </a:t>
            </a:r>
            <a:endParaRPr lang="x-none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5EFDBB-C146-4543-949B-5A2E140F2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0" y="3648458"/>
            <a:ext cx="6018206" cy="1167721"/>
          </a:xfrm>
        </p:spPr>
        <p:txBody>
          <a:bodyPr/>
          <a:lstStyle/>
          <a:p>
            <a:r>
              <a:rPr lang="ar-SA">
                <a:solidFill>
                  <a:schemeClr val="accent5"/>
                </a:solidFill>
              </a:rPr>
              <a:t>شكراً لكم</a:t>
            </a:r>
            <a:endParaRPr lang="x-none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831CEE-5FC8-0447-91AF-D194A87F33FF}"/>
              </a:ext>
            </a:extLst>
          </p:cNvPr>
          <p:cNvSpPr/>
          <p:nvPr userDrawn="1"/>
        </p:nvSpPr>
        <p:spPr>
          <a:xfrm>
            <a:off x="9307809" y="6438886"/>
            <a:ext cx="24304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x-none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909919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3F9B8-3591-431E-B808-01EB87053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7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3F9B8-3591-431E-B808-01EB87053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B88039B-ABEB-450C-AB0A-5B221B41D3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176" y="-311282"/>
            <a:ext cx="12188824" cy="81517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CD92EFB-3E13-4EDA-B2CB-4071E9EC469F}"/>
              </a:ext>
            </a:extLst>
          </p:cNvPr>
          <p:cNvSpPr/>
          <p:nvPr userDrawn="1"/>
        </p:nvSpPr>
        <p:spPr>
          <a:xfrm>
            <a:off x="0" y="4788130"/>
            <a:ext cx="12188824" cy="118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DD344F2-757D-9C41-90FB-3D266A40AC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46993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tion Subtitle</a:t>
            </a:r>
            <a:endParaRPr lang="en-SA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6F631CF-B958-C74B-A289-5649599D46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46992" y="4850894"/>
            <a:ext cx="5615870" cy="635506"/>
          </a:xfrm>
        </p:spPr>
        <p:txBody>
          <a:bodyPr vert="horz" lIns="0" tIns="0" rIns="0" bIns="0" anchor="b" anchorCtr="0">
            <a:noAutofit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/>
              <a:t>ا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4014753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FE7F00-1889-4108-8914-1F55D247C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FE7F00-1889-4108-8914-1F55D247C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3B8EF0-77DE-524E-8E4D-5D824CD4936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8950" y="261938"/>
            <a:ext cx="698500" cy="571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8ACC0AA-61DD-4382-85BB-D2FDEEC1525C}"/>
              </a:ext>
            </a:extLst>
          </p:cNvPr>
          <p:cNvSpPr/>
          <p:nvPr userDrawn="1"/>
        </p:nvSpPr>
        <p:spPr>
          <a:xfrm>
            <a:off x="7484464" y="661033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1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A5A5CBC-A5BC-4C66-B142-315055AD3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9224" y="165100"/>
            <a:ext cx="10274300" cy="854075"/>
          </a:xfrm>
        </p:spPr>
        <p:txBody>
          <a:bodyPr/>
          <a:lstStyle>
            <a:lvl1pPr>
              <a:defRPr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2898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FF0D46-77AD-C200-5BE2-9BA5FDAC4B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13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FF0D46-77AD-C200-5BE2-9BA5FDAC4B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PROVEN | LinkedIn">
            <a:extLst>
              <a:ext uri="{FF2B5EF4-FFF2-40B4-BE49-F238E27FC236}">
                <a16:creationId xmlns:a16="http://schemas.microsoft.com/office/drawing/2014/main" id="{4FCFF11B-E28B-197A-7ED7-B85EE3694E6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377" r="4016"/>
          <a:stretch/>
        </p:blipFill>
        <p:spPr bwMode="auto">
          <a:xfrm flipH="1">
            <a:off x="0" y="0"/>
            <a:ext cx="12192000" cy="685799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D3E2B85A-3414-D04D-BEDF-C9988F068A8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9EC3BD69-9465-9341-8A67-5D671A5D9C0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140738"/>
            <a:ext cx="3668684" cy="183434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44DF47D-621E-D141-31BA-0F057B3597AA}"/>
              </a:ext>
            </a:extLst>
          </p:cNvPr>
          <p:cNvSpPr/>
          <p:nvPr userDrawn="1"/>
        </p:nvSpPr>
        <p:spPr>
          <a:xfrm>
            <a:off x="488949" y="6657245"/>
            <a:ext cx="431688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© Ministry of Human Resources and Social Development 2023 - All Rights Reserved</a:t>
            </a:r>
            <a:endParaRPr lang="en-SA" sz="9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91E6351-998F-BDAE-D741-F0BBCD15D4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3865221"/>
            <a:ext cx="6121400" cy="119547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489419-894E-3AFA-3CE7-5A02EBD0EC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5565246"/>
            <a:ext cx="3176587" cy="249299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18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  <a:endParaRPr lang="en-AU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527046-9752-B836-01EF-EFD74AADC770}"/>
              </a:ext>
            </a:extLst>
          </p:cNvPr>
          <p:cNvSpPr txBox="1"/>
          <p:nvPr userDrawn="1"/>
        </p:nvSpPr>
        <p:spPr>
          <a:xfrm>
            <a:off x="488949" y="2477356"/>
            <a:ext cx="6121400" cy="3877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DMISSION JOURNEY PROJECT</a:t>
            </a:r>
          </a:p>
        </p:txBody>
      </p:sp>
    </p:spTree>
    <p:extLst>
      <p:ext uri="{BB962C8B-B14F-4D97-AF65-F5344CB8AC3E}">
        <p14:creationId xmlns:p14="http://schemas.microsoft.com/office/powerpoint/2010/main" val="3771001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6B316E-EA86-1C7D-0346-939532F050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49" y="95740"/>
            <a:ext cx="5338763" cy="16619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ection title</a:t>
            </a:r>
            <a:endParaRPr lang="en-AU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EC7D546-7592-83C2-6591-1DABAC156E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6470956"/>
            <a:ext cx="10839450" cy="145424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Notes/Source</a:t>
            </a:r>
          </a:p>
        </p:txBody>
      </p:sp>
    </p:spTree>
    <p:extLst>
      <p:ext uri="{BB962C8B-B14F-4D97-AF65-F5344CB8AC3E}">
        <p14:creationId xmlns:p14="http://schemas.microsoft.com/office/powerpoint/2010/main" val="956649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CF2FEC-F954-F1FC-6C79-94783C0A77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870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F2FEC-F954-F1FC-6C79-94783C0A7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2B5076-1FDD-9D11-830E-22FBCEB5F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61939"/>
            <a:ext cx="10375696" cy="571500"/>
          </a:xfrm>
        </p:spPr>
        <p:txBody>
          <a:bodyPr vert="horz"/>
          <a:lstStyle>
            <a:lvl1pPr>
              <a:defRPr>
                <a:latin typeface="+mn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2F1F7A7-D371-A962-F09D-9BBD2018C0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49" y="95740"/>
            <a:ext cx="5338763" cy="16619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ection title</a:t>
            </a:r>
            <a:endParaRPr lang="en-AU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DCE2093-1932-A8DC-A451-BB260AC0D3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6470956"/>
            <a:ext cx="10839450" cy="145424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Notes/Source</a:t>
            </a:r>
          </a:p>
        </p:txBody>
      </p:sp>
    </p:spTree>
    <p:extLst>
      <p:ext uri="{BB962C8B-B14F-4D97-AF65-F5344CB8AC3E}">
        <p14:creationId xmlns:p14="http://schemas.microsoft.com/office/powerpoint/2010/main" val="41107391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 - Tag Up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B5076-1FDD-9D11-830E-22FBCEB5F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61939"/>
            <a:ext cx="10375696" cy="571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6B316E-EA86-1C7D-0346-939532F050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49" y="95740"/>
            <a:ext cx="5338763" cy="16619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ection title</a:t>
            </a:r>
            <a:endParaRPr lang="en-AU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E9D914F8-F22E-DA8E-C20B-B5B0B3A335EE}"/>
              </a:ext>
            </a:extLst>
          </p:cNvPr>
          <p:cNvSpPr/>
          <p:nvPr userDrawn="1"/>
        </p:nvSpPr>
        <p:spPr>
          <a:xfrm flipV="1">
            <a:off x="10864643" y="305904"/>
            <a:ext cx="205200" cy="69065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CE2BE-DEE5-6236-9A21-4D4D1C239B85}"/>
              </a:ext>
            </a:extLst>
          </p:cNvPr>
          <p:cNvSpPr/>
          <p:nvPr userDrawn="1"/>
        </p:nvSpPr>
        <p:spPr>
          <a:xfrm flipH="1">
            <a:off x="8909843" y="53906"/>
            <a:ext cx="2160000" cy="2520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0" rtlCol="0" anchor="ctr">
            <a:noAutofit/>
          </a:bodyPr>
          <a:lstStyle/>
          <a:p>
            <a:pPr algn="ctr" rtl="1">
              <a:defRPr/>
            </a:pPr>
            <a:endParaRPr lang="en-AU" sz="1000" b="1" spc="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62D68DCA-7FBB-89E0-0A7B-1DB3FF60CBE4}"/>
              </a:ext>
            </a:extLst>
          </p:cNvPr>
          <p:cNvSpPr/>
          <p:nvPr userDrawn="1"/>
        </p:nvSpPr>
        <p:spPr>
          <a:xfrm>
            <a:off x="8528685" y="53904"/>
            <a:ext cx="506917" cy="252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7991F7-A00D-8F97-676C-2A88841268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35602" y="87574"/>
            <a:ext cx="1934277" cy="184666"/>
          </a:xfrm>
        </p:spPr>
        <p:txBody>
          <a:bodyPr wrap="square" t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64EA448-5B53-CBE2-2E0B-1D7C6BD664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6470956"/>
            <a:ext cx="10839450" cy="145424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Notes/Source</a:t>
            </a:r>
          </a:p>
        </p:txBody>
      </p:sp>
    </p:spTree>
    <p:extLst>
      <p:ext uri="{BB962C8B-B14F-4D97-AF65-F5344CB8AC3E}">
        <p14:creationId xmlns:p14="http://schemas.microsoft.com/office/powerpoint/2010/main" val="20444932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 - Tag Bottom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B5076-1FDD-9D11-830E-22FBCEB5F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61939"/>
            <a:ext cx="10375696" cy="571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6B316E-EA86-1C7D-0346-939532F050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49" y="95740"/>
            <a:ext cx="5338763" cy="16619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ection title</a:t>
            </a:r>
            <a:endParaRPr lang="en-AU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E9D914F8-F22E-DA8E-C20B-B5B0B3A335EE}"/>
              </a:ext>
            </a:extLst>
          </p:cNvPr>
          <p:cNvSpPr/>
          <p:nvPr userDrawn="1"/>
        </p:nvSpPr>
        <p:spPr>
          <a:xfrm>
            <a:off x="10867279" y="739297"/>
            <a:ext cx="205200" cy="69065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CE2BE-DEE5-6236-9A21-4D4D1C239B85}"/>
              </a:ext>
            </a:extLst>
          </p:cNvPr>
          <p:cNvSpPr/>
          <p:nvPr userDrawn="1"/>
        </p:nvSpPr>
        <p:spPr>
          <a:xfrm flipH="1">
            <a:off x="8909843" y="805209"/>
            <a:ext cx="2160000" cy="2520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0" rtlCol="0" anchor="ctr">
            <a:noAutofit/>
          </a:bodyPr>
          <a:lstStyle/>
          <a:p>
            <a:pPr algn="ctr" rtl="1">
              <a:defRPr/>
            </a:pPr>
            <a:endParaRPr lang="en-AU" sz="1000" b="1" spc="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62D68DCA-7FBB-89E0-0A7B-1DB3FF60CBE4}"/>
              </a:ext>
            </a:extLst>
          </p:cNvPr>
          <p:cNvSpPr/>
          <p:nvPr userDrawn="1"/>
        </p:nvSpPr>
        <p:spPr>
          <a:xfrm>
            <a:off x="8528685" y="824257"/>
            <a:ext cx="506917" cy="252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7991F7-A00D-8F97-676C-2A88841268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35602" y="838876"/>
            <a:ext cx="1934277" cy="184666"/>
          </a:xfrm>
        </p:spPr>
        <p:txBody>
          <a:bodyPr wrap="square" t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AB2F48A-5270-75DB-196F-D8B0770BCA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6470956"/>
            <a:ext cx="10839450" cy="145424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Notes/Source</a:t>
            </a:r>
          </a:p>
        </p:txBody>
      </p:sp>
    </p:spTree>
    <p:extLst>
      <p:ext uri="{BB962C8B-B14F-4D97-AF65-F5344CB8AC3E}">
        <p14:creationId xmlns:p14="http://schemas.microsoft.com/office/powerpoint/2010/main" val="15074272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 - Tag Bottom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2">
            <a:extLst>
              <a:ext uri="{FF2B5EF4-FFF2-40B4-BE49-F238E27FC236}">
                <a16:creationId xmlns:a16="http://schemas.microsoft.com/office/drawing/2014/main" id="{E9D914F8-F22E-DA8E-C20B-B5B0B3A335EE}"/>
              </a:ext>
            </a:extLst>
          </p:cNvPr>
          <p:cNvSpPr/>
          <p:nvPr userDrawn="1"/>
        </p:nvSpPr>
        <p:spPr>
          <a:xfrm>
            <a:off x="10867279" y="739297"/>
            <a:ext cx="205200" cy="69065"/>
          </a:xfrm>
          <a:prstGeom prst="rtTriangl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A7BFB8-57A3-E042-E697-1086B7EDCB8A}"/>
              </a:ext>
            </a:extLst>
          </p:cNvPr>
          <p:cNvCxnSpPr/>
          <p:nvPr userDrawn="1"/>
        </p:nvCxnSpPr>
        <p:spPr>
          <a:xfrm>
            <a:off x="10866965" y="724589"/>
            <a:ext cx="0" cy="108000"/>
          </a:xfrm>
          <a:prstGeom prst="line">
            <a:avLst/>
          </a:prstGeom>
          <a:ln w="12700">
            <a:solidFill>
              <a:schemeClr val="tx1"/>
            </a:solidFill>
          </a:ln>
          <a:effectLst>
            <a:outerShdw blurRad="25400" sx="90000" sy="90000" algn="l" rotWithShape="0">
              <a:prstClr val="black">
                <a:alpha val="58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A2B5076-1FDD-9D11-830E-22FBCEB5F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61939"/>
            <a:ext cx="10375696" cy="571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6B316E-EA86-1C7D-0346-939532F050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49" y="95740"/>
            <a:ext cx="5338763" cy="16619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ection title</a:t>
            </a:r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CE2BE-DEE5-6236-9A21-4D4D1C239B85}"/>
              </a:ext>
            </a:extLst>
          </p:cNvPr>
          <p:cNvSpPr/>
          <p:nvPr userDrawn="1"/>
        </p:nvSpPr>
        <p:spPr>
          <a:xfrm flipH="1">
            <a:off x="8909843" y="805209"/>
            <a:ext cx="2160000" cy="252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0" rtlCol="0" anchor="ctr">
            <a:noAutofit/>
          </a:bodyPr>
          <a:lstStyle/>
          <a:p>
            <a:pPr algn="ctr" rtl="1">
              <a:defRPr/>
            </a:pPr>
            <a:endParaRPr lang="en-AU" sz="1000" b="1" spc="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62D68DCA-7FBB-89E0-0A7B-1DB3FF60CBE4}"/>
              </a:ext>
            </a:extLst>
          </p:cNvPr>
          <p:cNvSpPr/>
          <p:nvPr userDrawn="1"/>
        </p:nvSpPr>
        <p:spPr>
          <a:xfrm>
            <a:off x="8528685" y="824257"/>
            <a:ext cx="506917" cy="252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7991F7-A00D-8F97-676C-2A88841268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35602" y="838876"/>
            <a:ext cx="1934277" cy="184666"/>
          </a:xfrm>
        </p:spPr>
        <p:txBody>
          <a:bodyPr wrap="square" t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F461CBC-AD26-D2CE-1FC4-40BB3FBB73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6470956"/>
            <a:ext cx="10839450" cy="145424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Notes/Source</a:t>
            </a:r>
          </a:p>
        </p:txBody>
      </p:sp>
    </p:spTree>
    <p:extLst>
      <p:ext uri="{BB962C8B-B14F-4D97-AF65-F5344CB8AC3E}">
        <p14:creationId xmlns:p14="http://schemas.microsoft.com/office/powerpoint/2010/main" val="40073365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Title - Tag Up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2">
            <a:extLst>
              <a:ext uri="{FF2B5EF4-FFF2-40B4-BE49-F238E27FC236}">
                <a16:creationId xmlns:a16="http://schemas.microsoft.com/office/drawing/2014/main" id="{E9D914F8-F22E-DA8E-C20B-B5B0B3A335EE}"/>
              </a:ext>
            </a:extLst>
          </p:cNvPr>
          <p:cNvSpPr/>
          <p:nvPr userDrawn="1"/>
        </p:nvSpPr>
        <p:spPr>
          <a:xfrm flipV="1">
            <a:off x="10864643" y="305904"/>
            <a:ext cx="205200" cy="69065"/>
          </a:xfrm>
          <a:prstGeom prst="rtTriangl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D8B8406-C133-12C1-BF28-BDF765C027C6}"/>
              </a:ext>
            </a:extLst>
          </p:cNvPr>
          <p:cNvCxnSpPr/>
          <p:nvPr userDrawn="1"/>
        </p:nvCxnSpPr>
        <p:spPr>
          <a:xfrm>
            <a:off x="10866965" y="277983"/>
            <a:ext cx="0" cy="108000"/>
          </a:xfrm>
          <a:prstGeom prst="line">
            <a:avLst/>
          </a:prstGeom>
          <a:ln w="12700">
            <a:solidFill>
              <a:schemeClr val="tx1"/>
            </a:solidFill>
          </a:ln>
          <a:effectLst>
            <a:outerShdw blurRad="25400" sx="90000" sy="90000" algn="l" rotWithShape="0">
              <a:prstClr val="black">
                <a:alpha val="58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A2B5076-1FDD-9D11-830E-22FBCEB5F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61939"/>
            <a:ext cx="10375696" cy="571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6B316E-EA86-1C7D-0346-939532F050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8949" y="95740"/>
            <a:ext cx="5338763" cy="16619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ection title</a:t>
            </a:r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5CE2BE-DEE5-6236-9A21-4D4D1C239B85}"/>
              </a:ext>
            </a:extLst>
          </p:cNvPr>
          <p:cNvSpPr/>
          <p:nvPr userDrawn="1"/>
        </p:nvSpPr>
        <p:spPr>
          <a:xfrm flipH="1">
            <a:off x="8909843" y="53906"/>
            <a:ext cx="2160000" cy="252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0" rtlCol="0" anchor="ctr">
            <a:noAutofit/>
          </a:bodyPr>
          <a:lstStyle/>
          <a:p>
            <a:pPr algn="ctr" rtl="1">
              <a:defRPr/>
            </a:pPr>
            <a:endParaRPr lang="en-AU" sz="1000" b="1" spc="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62D68DCA-7FBB-89E0-0A7B-1DB3FF60CBE4}"/>
              </a:ext>
            </a:extLst>
          </p:cNvPr>
          <p:cNvSpPr/>
          <p:nvPr userDrawn="1"/>
        </p:nvSpPr>
        <p:spPr>
          <a:xfrm>
            <a:off x="8528685" y="53904"/>
            <a:ext cx="506917" cy="252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7991F7-A00D-8F97-676C-2A88841268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035602" y="87574"/>
            <a:ext cx="1934277" cy="184666"/>
          </a:xfrm>
        </p:spPr>
        <p:txBody>
          <a:bodyPr wrap="square" tIns="0" bIns="0" anchor="ctr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AG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D49673C-E7C2-6ACF-6F63-F32F296142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8950" y="6470956"/>
            <a:ext cx="10839450" cy="145424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Notes/Source</a:t>
            </a:r>
          </a:p>
        </p:txBody>
      </p:sp>
    </p:spTree>
    <p:extLst>
      <p:ext uri="{BB962C8B-B14F-4D97-AF65-F5344CB8AC3E}">
        <p14:creationId xmlns:p14="http://schemas.microsoft.com/office/powerpoint/2010/main" val="31870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3F9B8-3591-431E-B808-01EB87053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7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3F9B8-3591-431E-B808-01EB87053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B88039B-ABEB-450C-AB0A-5B221B41D3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176" y="-311282"/>
            <a:ext cx="12188824" cy="8151779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61CE712-DAC8-E14B-9C33-A476403D74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150" y="645568"/>
            <a:ext cx="1747958" cy="932749"/>
          </a:xfrm>
        </p:spPr>
        <p:txBody>
          <a:bodyPr lIns="0" tIns="0" rIns="0" bIns="0" anchor="t" anchorCtr="0"/>
          <a:lstStyle>
            <a:lvl1pPr marL="0" indent="0" algn="l" rtl="0">
              <a:buFontTx/>
              <a:buNone/>
              <a:defRPr sz="6000" b="0" i="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pPr marL="0" lv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01</a:t>
            </a:r>
            <a:endParaRPr lang="en-S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D92EFB-3E13-4EDA-B2CB-4071E9EC469F}"/>
              </a:ext>
            </a:extLst>
          </p:cNvPr>
          <p:cNvSpPr/>
          <p:nvPr userDrawn="1"/>
        </p:nvSpPr>
        <p:spPr>
          <a:xfrm>
            <a:off x="0" y="4435813"/>
            <a:ext cx="12192000" cy="17766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DD344F2-757D-9C41-90FB-3D266A40AC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46993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 defTabSz="4572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Section Subtitle</a:t>
            </a:r>
            <a:endParaRPr lang="en-S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3B1A4BE-73A2-454E-90FF-3EDCC41F1FAF}"/>
              </a:ext>
            </a:extLst>
          </p:cNvPr>
          <p:cNvSpPr/>
          <p:nvPr userDrawn="1"/>
        </p:nvSpPr>
        <p:spPr>
          <a:xfrm>
            <a:off x="2303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0 ©</a:t>
            </a:r>
            <a:endParaRPr lang="en-SA" sz="700" b="0" i="0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7FD271-AE73-C94D-A7FE-6D4FB8357F55}"/>
              </a:ext>
            </a:extLst>
          </p:cNvPr>
          <p:cNvSpPr/>
          <p:nvPr userDrawn="1"/>
        </p:nvSpPr>
        <p:spPr>
          <a:xfrm>
            <a:off x="6046992" y="4685355"/>
            <a:ext cx="5615870" cy="1466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l" defTabSz="914400" rtl="0" eaLnBrk="1" latinLnBrk="0" hangingPunct="1"/>
            <a:endParaRPr lang="en-SA" sz="2700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6F631CF-B958-C74B-A289-5649599D46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46992" y="4850894"/>
            <a:ext cx="5615870" cy="635506"/>
          </a:xfrm>
        </p:spPr>
        <p:txBody>
          <a:bodyPr vert="horz" lIns="0" tIns="0" rIns="0" bIns="0" anchor="b" anchorCtr="0">
            <a:noAutofit/>
          </a:bodyPr>
          <a:lstStyle>
            <a:lvl1pPr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/>
              <a:t>ا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2813393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0C09DCD-F004-E942-B9EA-75D9EA28C5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19050"/>
            <a:ext cx="12192000" cy="68199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D271-AE73-C94D-A7FE-6D4FB8357F55}"/>
              </a:ext>
            </a:extLst>
          </p:cNvPr>
          <p:cNvSpPr/>
          <p:nvPr userDrawn="1"/>
        </p:nvSpPr>
        <p:spPr>
          <a:xfrm>
            <a:off x="694150" y="4685355"/>
            <a:ext cx="5615870" cy="1466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l" defTabSz="914400" rtl="0" eaLnBrk="1" latinLnBrk="0" hangingPunct="1"/>
            <a:endParaRPr lang="en-SA">
              <a:solidFill>
                <a:schemeClr val="accent5"/>
              </a:solidFill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D0DACB12-F44A-46A6-DE62-5E56EBC12F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150" y="4040011"/>
            <a:ext cx="5615870" cy="635506"/>
          </a:xfrm>
        </p:spPr>
        <p:txBody>
          <a:bodyPr/>
          <a:lstStyle>
            <a:lvl1pPr>
              <a:defRPr>
                <a:solidFill>
                  <a:srgbClr val="158284"/>
                </a:solidFill>
              </a:defRPr>
            </a:lvl1pPr>
          </a:lstStyle>
          <a:p>
            <a:pPr algn="l"/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0EDFEEC-6EDB-5083-94AF-5AA2EB1A6361}"/>
              </a:ext>
            </a:extLst>
          </p:cNvPr>
          <p:cNvSpPr/>
          <p:nvPr userDrawn="1"/>
        </p:nvSpPr>
        <p:spPr>
          <a:xfrm>
            <a:off x="488949" y="6657245"/>
            <a:ext cx="431688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© Ministry of Human Resources and Social Development 2023 - All Rights Reserved</a:t>
            </a:r>
            <a:endParaRPr lang="en-SA" sz="9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18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3F9B8-3591-431E-B808-01EB87053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94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3F9B8-3591-431E-B808-01EB87053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B88039B-ABEB-450C-AB0A-5B221B41D3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3857" b="12053"/>
          <a:stretch/>
        </p:blipFill>
        <p:spPr>
          <a:xfrm>
            <a:off x="3176" y="3176"/>
            <a:ext cx="12188824" cy="685482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CD92EFB-3E13-4EDA-B2CB-4071E9EC469F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A2430">
              <a:alpha val="7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3B1A4BE-73A2-454E-90FF-3EDCC41F1FAF}"/>
              </a:ext>
            </a:extLst>
          </p:cNvPr>
          <p:cNvSpPr/>
          <p:nvPr userDrawn="1"/>
        </p:nvSpPr>
        <p:spPr>
          <a:xfrm>
            <a:off x="2303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2 ©</a:t>
            </a:r>
            <a:endParaRPr lang="en-SA" sz="700" b="0" i="0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B6AFB3-8543-4022-8C82-9C34B40E381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95024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917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83F9B8-3591-431E-B808-01EB87053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983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83F9B8-3591-431E-B808-01EB87053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B88039B-ABEB-450C-AB0A-5B221B41D3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3857" b="12053"/>
          <a:stretch/>
        </p:blipFill>
        <p:spPr>
          <a:xfrm>
            <a:off x="3176" y="3176"/>
            <a:ext cx="12188824" cy="685482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970B30C-7516-4EEA-86EF-CD3371C501F1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C0E6E3">
              <a:alpha val="7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l" defTabSz="914400" rtl="1" eaLnBrk="1" latinLnBrk="0" hangingPunct="1"/>
            <a:endParaRPr lang="en-US" sz="2700"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B6AFB3-8543-4022-8C82-9C34B40E381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95024" y="261938"/>
            <a:ext cx="698500" cy="571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3C16120-1901-4FDB-A094-A2AAC5C2052A}"/>
              </a:ext>
            </a:extLst>
          </p:cNvPr>
          <p:cNvSpPr/>
          <p:nvPr userDrawn="1"/>
        </p:nvSpPr>
        <p:spPr>
          <a:xfrm>
            <a:off x="230341" y="643888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2 ©</a:t>
            </a:r>
            <a:endParaRPr lang="en-SA" sz="700" b="0" i="0">
              <a:solidFill>
                <a:schemeClr val="bg1"/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4054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0B9D15-6C4F-49FD-AE2B-F9E57391DE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914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0B9D15-6C4F-49FD-AE2B-F9E57391D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FCFBF7C-8922-4D0D-8A4D-8E79570D0C3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48000"/>
          </a:blip>
          <a:stretch>
            <a:fillRect/>
          </a:stretch>
        </p:blipFill>
        <p:spPr>
          <a:xfrm>
            <a:off x="0" y="6410325"/>
            <a:ext cx="12192000" cy="495300"/>
          </a:xfrm>
          <a:prstGeom prst="rect">
            <a:avLst/>
          </a:prstGeom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357052E-EA96-A740-8BC0-114FB29AE8E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95024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234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FE7F00-1889-4108-8914-1F55D247C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826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FE7F00-1889-4108-8914-1F55D247C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3B8EF0-77DE-524E-8E4D-5D824CD4936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8950" y="261938"/>
            <a:ext cx="698500" cy="571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8ACC0AA-61DD-4382-85BB-D2FDEEC1525C}"/>
              </a:ext>
            </a:extLst>
          </p:cNvPr>
          <p:cNvSpPr/>
          <p:nvPr userDrawn="1"/>
        </p:nvSpPr>
        <p:spPr>
          <a:xfrm>
            <a:off x="7484464" y="6610334"/>
            <a:ext cx="386676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rPr>
              <a:t>All rights reserved to Ministry of Human Resources and Social Development 2021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EA5A5CBC-A5BC-4C66-B142-315055AD3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9224" y="165100"/>
            <a:ext cx="10274300" cy="854075"/>
          </a:xfrm>
        </p:spPr>
        <p:txBody>
          <a:bodyPr/>
          <a:lstStyle>
            <a:lvl1pPr>
              <a:defRPr>
                <a:latin typeface="Effra" panose="020B0603020203020204" pitchFamily="34" charset="0"/>
                <a:cs typeface="Effra" panose="020B0603020203020204" pitchFamily="34" charset="0"/>
                <a:sym typeface="Effra" panose="020B0603020203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165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oleObject" Target="../embeddings/oleObject15.bin"/><Relationship Id="rId5" Type="http://schemas.openxmlformats.org/officeDocument/2006/relationships/slideLayout" Target="../slideLayouts/slideLayout47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6D7CE1-296A-4028-B19D-D344E0547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53968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56D7CE1-296A-4028-B19D-D344E0547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31D514-8C37-4C47-A93D-7AAA8F4F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1370"/>
            <a:ext cx="10515600" cy="8193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itle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3D4FC-82D0-9748-B90B-6D67DAC20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Text level 1</a:t>
            </a:r>
          </a:p>
          <a:p>
            <a:pPr lvl="1"/>
            <a:r>
              <a:rPr lang="en-US"/>
              <a:t>Text level 2</a:t>
            </a:r>
          </a:p>
          <a:p>
            <a:pPr lvl="2"/>
            <a:r>
              <a:rPr lang="en-US"/>
              <a:t>Text level 3</a:t>
            </a:r>
            <a:endParaRPr lang="en-SA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5C5C91-C08F-AF4C-9A3E-FBF471E2FD3C}"/>
              </a:ext>
            </a:extLst>
          </p:cNvPr>
          <p:cNvSpPr txBox="1"/>
          <p:nvPr userDrawn="1"/>
        </p:nvSpPr>
        <p:spPr>
          <a:xfrm>
            <a:off x="163445" y="6396107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en-SA" sz="1050" b="1" i="0" kern="1200">
                <a:solidFill>
                  <a:schemeClr val="accent6"/>
                </a:solidFill>
                <a:latin typeface="Effra" panose="020B0603020203020204" pitchFamily="34" charset="0"/>
                <a:ea typeface="+mn-ea"/>
                <a:cs typeface="Effra" panose="020B0603020203020204" pitchFamily="34" charset="0"/>
                <a:sym typeface="Effra" panose="020B0603020203020204" pitchFamily="34" charset="0"/>
              </a:rPr>
              <a:pPr marL="0" algn="l" defTabSz="914400" rtl="0" eaLnBrk="1" latinLnBrk="0" hangingPunct="1"/>
              <a:t>‹#›</a:t>
            </a:fld>
            <a:endParaRPr lang="en-SA" sz="1050" b="1" i="0" kern="1200">
              <a:solidFill>
                <a:schemeClr val="accent6"/>
              </a:solidFill>
              <a:latin typeface="Effra" panose="020B0603020203020204" pitchFamily="34" charset="0"/>
              <a:ea typeface="+mn-ea"/>
              <a:cs typeface="Effra" panose="020B0603020203020204" pitchFamily="34" charset="0"/>
              <a:sym typeface="Effra" panose="020B0603020203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F5A662-C1AD-AA5B-EDB3-7F37B0DCD57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312926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Restricted</a:t>
            </a:r>
          </a:p>
        </p:txBody>
      </p:sp>
    </p:spTree>
    <p:extLst>
      <p:ext uri="{BB962C8B-B14F-4D97-AF65-F5344CB8AC3E}">
        <p14:creationId xmlns:p14="http://schemas.microsoft.com/office/powerpoint/2010/main" val="89719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18" r:id="rId1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1"/>
          </a:solidFill>
          <a:latin typeface="Effra" panose="020B0603020203020204" pitchFamily="34" charset="0"/>
          <a:ea typeface="+mj-ea"/>
          <a:cs typeface="Effra" panose="020B0603020203020204" pitchFamily="34" charset="0"/>
          <a:sym typeface="Effra" panose="020B0603020203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  <a:sym typeface="Effra" panose="020B0603020203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  <a:sym typeface="Effra" panose="020B0603020203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Effra" panose="020B0603020203020204" pitchFamily="34" charset="0"/>
          <a:ea typeface="+mn-ea"/>
          <a:cs typeface="Effra" panose="020B0603020203020204" pitchFamily="34" charset="0"/>
          <a:sym typeface="Effra" panose="020B0603020203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4">
          <p15:clr>
            <a:srgbClr val="F26B43"/>
          </p15:clr>
        </p15:guide>
        <p15:guide id="2" pos="7416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3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31D514-8C37-4C47-A93D-7AAA8F4F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1371"/>
            <a:ext cx="10515600" cy="8193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3D4FC-82D0-9748-B90B-6D67DAC20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CA4DC-0B8D-0A47-A07F-DA4111EBC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1374648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1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endParaRPr lang="x-none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2D970-CC06-EF43-83A2-A89227736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288" y="6356352"/>
            <a:ext cx="3119560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>
              <a:def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sz="1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5C5C91-C08F-AF4C-9A3E-FBF471E2FD3C}"/>
              </a:ext>
            </a:extLst>
          </p:cNvPr>
          <p:cNvSpPr txBox="1"/>
          <p:nvPr userDrawn="1"/>
        </p:nvSpPr>
        <p:spPr>
          <a:xfrm>
            <a:off x="11457432" y="6356352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marL="0" algn="l" defTabSz="914400" rtl="0" eaLnBrk="1" latinLnBrk="0" hangingPunct="1"/>
              <a:t>‹#›</a:t>
            </a:fld>
            <a:endParaRPr lang="x-none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2FA195-BA9B-CE30-7B88-2834DBFDF13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312926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 : Restricted</a:t>
            </a:r>
          </a:p>
        </p:txBody>
      </p:sp>
    </p:spTree>
    <p:extLst>
      <p:ext uri="{BB962C8B-B14F-4D97-AF65-F5344CB8AC3E}">
        <p14:creationId xmlns:p14="http://schemas.microsoft.com/office/powerpoint/2010/main" val="1691018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</p:sldLayoutIdLst>
  <p:hf hdr="0" ftr="0" dt="0"/>
  <p:txStyles>
    <p:titleStyle>
      <a:lvl1pPr algn="r" defTabSz="914400" rtl="1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1"/>
          </a:solidFill>
          <a:latin typeface="Greta Arabic" pitchFamily="2" charset="-78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Symbio AR+LT" panose="020B0503030303020204" pitchFamily="34" charset="-78"/>
          <a:ea typeface="+mn-ea"/>
          <a:cs typeface="Symbio AR+LT" panose="020B0503030303020204" pitchFamily="34" charset="-78"/>
        </a:defRPr>
      </a:lvl1pPr>
      <a:lvl2pPr marL="6858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31D514-8C37-4C47-A93D-7AAA8F4F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1371"/>
            <a:ext cx="10515600" cy="8193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ar-SA"/>
              <a:t>مثال لعنوان الصفحة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3D4FC-82D0-9748-B90B-6D67DAC20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CA4DC-0B8D-0A47-A07F-DA4111EBC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1374648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1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endParaRPr lang="x-none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2D970-CC06-EF43-83A2-A89227736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288" y="6356352"/>
            <a:ext cx="3119560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>
              <a:def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sz="1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5C5C91-C08F-AF4C-9A3E-FBF471E2FD3C}"/>
              </a:ext>
            </a:extLst>
          </p:cNvPr>
          <p:cNvSpPr txBox="1"/>
          <p:nvPr userDrawn="1"/>
        </p:nvSpPr>
        <p:spPr>
          <a:xfrm>
            <a:off x="11457432" y="6356352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x-none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marL="0" algn="l" defTabSz="914400" rtl="0" eaLnBrk="1" latinLnBrk="0" hangingPunct="1"/>
              <a:t>‹#›</a:t>
            </a:fld>
            <a:endParaRPr lang="x-none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B4B949-BD84-5718-0BE5-4128B67C724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63500" y="63500"/>
            <a:ext cx="1312926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ar-SA" sz="1000">
                <a:solidFill>
                  <a:srgbClr val="008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 : Restricted</a:t>
            </a:r>
          </a:p>
        </p:txBody>
      </p:sp>
    </p:spTree>
    <p:extLst>
      <p:ext uri="{BB962C8B-B14F-4D97-AF65-F5344CB8AC3E}">
        <p14:creationId xmlns:p14="http://schemas.microsoft.com/office/powerpoint/2010/main" val="703946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5" r:id="rId15"/>
    <p:sldLayoutId id="2147483765" r:id="rId16"/>
  </p:sldLayoutIdLst>
  <p:hf hdr="0" ftr="0" dt="0"/>
  <p:txStyles>
    <p:titleStyle>
      <a:lvl1pPr algn="r" defTabSz="914400" rtl="1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1"/>
          </a:solidFill>
          <a:latin typeface="Greta Arabic" pitchFamily="2" charset="-78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Symbio AR+LT" panose="020B0503030303020204" pitchFamily="34" charset="-78"/>
          <a:ea typeface="+mn-ea"/>
          <a:cs typeface="Symbio AR+LT" panose="020B0503030303020204" pitchFamily="34" charset="-78"/>
        </a:defRPr>
      </a:lvl1pPr>
      <a:lvl2pPr marL="6858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70BAF43-D4B1-6B09-72C6-9B57AAF57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86395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0BAF43-D4B1-6B09-72C6-9B57AAF57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5417C5B-5167-241C-C627-618D9C84B4A3}"/>
              </a:ext>
            </a:extLst>
          </p:cNvPr>
          <p:cNvSpPr/>
          <p:nvPr/>
        </p:nvSpPr>
        <p:spPr>
          <a:xfrm flipV="1">
            <a:off x="11798430" y="6323213"/>
            <a:ext cx="393570" cy="223453"/>
          </a:xfrm>
          <a:custGeom>
            <a:avLst/>
            <a:gdLst>
              <a:gd name="connsiteX0" fmla="*/ 393570 w 393570"/>
              <a:gd name="connsiteY0" fmla="*/ 223453 h 223453"/>
              <a:gd name="connsiteX1" fmla="*/ 393570 w 393570"/>
              <a:gd name="connsiteY1" fmla="*/ 71377 h 223453"/>
              <a:gd name="connsiteX2" fmla="*/ 0 w 393570"/>
              <a:gd name="connsiteY2" fmla="*/ 0 h 223453"/>
              <a:gd name="connsiteX3" fmla="*/ 0 w 393570"/>
              <a:gd name="connsiteY3" fmla="*/ 152076 h 223453"/>
              <a:gd name="connsiteX4" fmla="*/ 393570 w 393570"/>
              <a:gd name="connsiteY4" fmla="*/ 223453 h 22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570" h="223453">
                <a:moveTo>
                  <a:pt x="393570" y="223453"/>
                </a:moveTo>
                <a:lnTo>
                  <a:pt x="393570" y="71377"/>
                </a:lnTo>
                <a:lnTo>
                  <a:pt x="0" y="0"/>
                </a:lnTo>
                <a:lnTo>
                  <a:pt x="0" y="152076"/>
                </a:lnTo>
                <a:lnTo>
                  <a:pt x="393570" y="22345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1B6B99-849E-ECA1-875F-E83DDF6B0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261939"/>
            <a:ext cx="10375696" cy="571500"/>
          </a:xfrm>
          <a:prstGeom prst="rect">
            <a:avLst/>
          </a:prstGeom>
        </p:spPr>
        <p:txBody>
          <a:bodyPr vert="horz" lIns="0" tIns="45720" rIns="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ACF82-1ECA-B3B0-F2A0-274946D48E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9307BA-2C4B-9BF6-0B88-104584B73EC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48352BF-2509-F67F-10F6-391229AD29DA}"/>
              </a:ext>
            </a:extLst>
          </p:cNvPr>
          <p:cNvSpPr/>
          <p:nvPr userDrawn="1"/>
        </p:nvSpPr>
        <p:spPr>
          <a:xfrm>
            <a:off x="5863385" y="6660000"/>
            <a:ext cx="465230" cy="15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fld id="{9802230A-AAD3-41C9-8B44-950BAD32BDE4}" type="slidenum">
              <a:rPr lang="en-AU" sz="1000" b="0" smtClean="0">
                <a:solidFill>
                  <a:schemeClr val="bg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AU" sz="1000" b="0">
              <a:solidFill>
                <a:schemeClr val="bg1">
                  <a:lumMod val="50000"/>
                </a:schemeClr>
              </a:solidFill>
              <a:latin typeface="+mn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1A2F23-BDEB-526A-4D26-A2A7E6EE37DD}"/>
              </a:ext>
            </a:extLst>
          </p:cNvPr>
          <p:cNvSpPr/>
          <p:nvPr userDrawn="1"/>
        </p:nvSpPr>
        <p:spPr>
          <a:xfrm>
            <a:off x="488949" y="6660000"/>
            <a:ext cx="431688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US" sz="900">
                <a:solidFill>
                  <a:schemeClr val="bg1">
                    <a:lumMod val="65000"/>
                  </a:schemeClr>
                </a:solidFill>
              </a:rPr>
              <a:t>© Ministry of Human Resources and Social Development 2023 - All Rights Reserved</a:t>
            </a:r>
            <a:endParaRPr lang="en-SA" sz="9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2BF2BF-C39E-7D2C-56B0-B7A709BEFA8A}"/>
              </a:ext>
            </a:extLst>
          </p:cNvPr>
          <p:cNvGrpSpPr/>
          <p:nvPr userDrawn="1"/>
        </p:nvGrpSpPr>
        <p:grpSpPr>
          <a:xfrm>
            <a:off x="11666598" y="6363262"/>
            <a:ext cx="525402" cy="494738"/>
            <a:chOff x="11666598" y="6363261"/>
            <a:chExt cx="525402" cy="494738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8851688-8BCC-1BE7-264C-EC467583CC52}"/>
                </a:ext>
              </a:extLst>
            </p:cNvPr>
            <p:cNvSpPr/>
            <p:nvPr userDrawn="1"/>
          </p:nvSpPr>
          <p:spPr>
            <a:xfrm flipV="1">
              <a:off x="11908781" y="6363261"/>
              <a:ext cx="283219" cy="203439"/>
            </a:xfrm>
            <a:custGeom>
              <a:avLst/>
              <a:gdLst>
                <a:gd name="connsiteX0" fmla="*/ 973124 w 973124"/>
                <a:gd name="connsiteY0" fmla="*/ 1012483 h 1012483"/>
                <a:gd name="connsiteX1" fmla="*/ 973124 w 973124"/>
                <a:gd name="connsiteY1" fmla="*/ 255629 h 1012483"/>
                <a:gd name="connsiteX2" fmla="*/ 0 w 973124"/>
                <a:gd name="connsiteY2" fmla="*/ 0 h 1012483"/>
                <a:gd name="connsiteX3" fmla="*/ 0 w 973124"/>
                <a:gd name="connsiteY3" fmla="*/ 756855 h 1012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3124" h="1012483">
                  <a:moveTo>
                    <a:pt x="973124" y="1012483"/>
                  </a:moveTo>
                  <a:lnTo>
                    <a:pt x="973124" y="255629"/>
                  </a:lnTo>
                  <a:lnTo>
                    <a:pt x="0" y="0"/>
                  </a:lnTo>
                  <a:lnTo>
                    <a:pt x="0" y="75685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ACFCBE3-092D-6978-D8C7-B48F728641FB}"/>
                </a:ext>
              </a:extLst>
            </p:cNvPr>
            <p:cNvSpPr/>
            <p:nvPr userDrawn="1"/>
          </p:nvSpPr>
          <p:spPr>
            <a:xfrm flipV="1">
              <a:off x="11666598" y="6414625"/>
              <a:ext cx="242184" cy="443374"/>
            </a:xfrm>
            <a:custGeom>
              <a:avLst/>
              <a:gdLst>
                <a:gd name="connsiteX0" fmla="*/ 832128 w 832128"/>
                <a:gd name="connsiteY0" fmla="*/ 2206597 h 2206597"/>
                <a:gd name="connsiteX1" fmla="*/ 832128 w 832128"/>
                <a:gd name="connsiteY1" fmla="*/ 0 h 2206597"/>
                <a:gd name="connsiteX2" fmla="*/ 0 w 832128"/>
                <a:gd name="connsiteY2" fmla="*/ 0 h 2206597"/>
                <a:gd name="connsiteX3" fmla="*/ 0 w 832128"/>
                <a:gd name="connsiteY3" fmla="*/ 1231154 h 2206597"/>
                <a:gd name="connsiteX4" fmla="*/ 0 w 832128"/>
                <a:gd name="connsiteY4" fmla="*/ 1231156 h 2206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2128" h="2206597">
                  <a:moveTo>
                    <a:pt x="832128" y="2206597"/>
                  </a:moveTo>
                  <a:lnTo>
                    <a:pt x="832128" y="0"/>
                  </a:lnTo>
                  <a:lnTo>
                    <a:pt x="0" y="0"/>
                  </a:lnTo>
                  <a:lnTo>
                    <a:pt x="0" y="1231154"/>
                  </a:lnTo>
                  <a:lnTo>
                    <a:pt x="0" y="1231156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EE2814A2-751F-DAB4-D636-F39568B45E5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0040874" y="6660000"/>
            <a:ext cx="1312926" cy="138499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90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Classification : Restricted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8CF1809-9A9E-4F08-F9C0-64558FB99774}"/>
              </a:ext>
            </a:extLst>
          </p:cNvPr>
          <p:cNvSpPr/>
          <p:nvPr userDrawn="1"/>
        </p:nvSpPr>
        <p:spPr>
          <a:xfrm flipV="1">
            <a:off x="11595984" y="6473560"/>
            <a:ext cx="242184" cy="384441"/>
          </a:xfrm>
          <a:custGeom>
            <a:avLst/>
            <a:gdLst>
              <a:gd name="connsiteX0" fmla="*/ 242184 w 242184"/>
              <a:gd name="connsiteY0" fmla="*/ 384441 h 384441"/>
              <a:gd name="connsiteX1" fmla="*/ 242184 w 242184"/>
              <a:gd name="connsiteY1" fmla="*/ 0 h 384441"/>
              <a:gd name="connsiteX2" fmla="*/ 0 w 242184"/>
              <a:gd name="connsiteY2" fmla="*/ 0 h 384441"/>
              <a:gd name="connsiteX3" fmla="*/ 0 w 242184"/>
              <a:gd name="connsiteY3" fmla="*/ 188444 h 384441"/>
              <a:gd name="connsiteX4" fmla="*/ 242184 w 242184"/>
              <a:gd name="connsiteY4" fmla="*/ 384441 h 384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184" h="384441">
                <a:moveTo>
                  <a:pt x="242184" y="384441"/>
                </a:moveTo>
                <a:lnTo>
                  <a:pt x="242184" y="0"/>
                </a:lnTo>
                <a:lnTo>
                  <a:pt x="0" y="0"/>
                </a:lnTo>
                <a:lnTo>
                  <a:pt x="0" y="188444"/>
                </a:lnTo>
                <a:lnTo>
                  <a:pt x="242184" y="384441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523B947-7903-31A1-81FF-F7ED8828DA9B}"/>
              </a:ext>
            </a:extLst>
          </p:cNvPr>
          <p:cNvSpPr/>
          <p:nvPr/>
        </p:nvSpPr>
        <p:spPr>
          <a:xfrm flipV="1">
            <a:off x="11556246" y="6394590"/>
            <a:ext cx="242184" cy="463410"/>
          </a:xfrm>
          <a:custGeom>
            <a:avLst/>
            <a:gdLst>
              <a:gd name="connsiteX0" fmla="*/ 832128 w 832128"/>
              <a:gd name="connsiteY0" fmla="*/ 2306313 h 2306313"/>
              <a:gd name="connsiteX1" fmla="*/ 832128 w 832128"/>
              <a:gd name="connsiteY1" fmla="*/ 0 h 2306313"/>
              <a:gd name="connsiteX2" fmla="*/ 0 w 832128"/>
              <a:gd name="connsiteY2" fmla="*/ 0 h 2306313"/>
              <a:gd name="connsiteX3" fmla="*/ 0 w 832128"/>
              <a:gd name="connsiteY3" fmla="*/ 1330870 h 2306313"/>
              <a:gd name="connsiteX4" fmla="*/ 0 w 832128"/>
              <a:gd name="connsiteY4" fmla="*/ 1330872 h 230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2128" h="2306313">
                <a:moveTo>
                  <a:pt x="832128" y="2306313"/>
                </a:moveTo>
                <a:lnTo>
                  <a:pt x="832128" y="0"/>
                </a:lnTo>
                <a:lnTo>
                  <a:pt x="0" y="0"/>
                </a:lnTo>
                <a:lnTo>
                  <a:pt x="0" y="1330870"/>
                </a:lnTo>
                <a:lnTo>
                  <a:pt x="0" y="133087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EBFF594-0C98-DBDB-5E27-7553E6DE894B}"/>
              </a:ext>
            </a:extLst>
          </p:cNvPr>
          <p:cNvSpPr/>
          <p:nvPr userDrawn="1"/>
        </p:nvSpPr>
        <p:spPr>
          <a:xfrm>
            <a:off x="11556246" y="6323213"/>
            <a:ext cx="635754" cy="53478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328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3.png"/><Relationship Id="rId4" Type="http://schemas.openxmlformats.org/officeDocument/2006/relationships/image" Target="../media/image4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7.svg"/><Relationship Id="rId11" Type="http://schemas.openxmlformats.org/officeDocument/2006/relationships/image" Target="../media/image52.sv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5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7.png"/><Relationship Id="rId11" Type="http://schemas.openxmlformats.org/officeDocument/2006/relationships/hyperlink" Target="https://svp-international.pacc.sa/home" TargetMode="External"/><Relationship Id="rId5" Type="http://schemas.openxmlformats.org/officeDocument/2006/relationships/image" Target="../media/image56.png"/><Relationship Id="rId10" Type="http://schemas.openxmlformats.org/officeDocument/2006/relationships/image" Target="../media/image60.png"/><Relationship Id="rId4" Type="http://schemas.openxmlformats.org/officeDocument/2006/relationships/image" Target="../media/image55.png"/><Relationship Id="rId9" Type="http://schemas.openxmlformats.org/officeDocument/2006/relationships/hyperlink" Target="https://pacc.sa/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2.png"/><Relationship Id="rId11" Type="http://schemas.openxmlformats.org/officeDocument/2006/relationships/image" Target="../media/image77.svg"/><Relationship Id="rId5" Type="http://schemas.openxmlformats.org/officeDocument/2006/relationships/image" Target="../media/image71.pn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4.png"/><Relationship Id="rId7" Type="http://schemas.openxmlformats.org/officeDocument/2006/relationships/image" Target="../media/image60.png"/><Relationship Id="rId12" Type="http://schemas.openxmlformats.org/officeDocument/2006/relationships/image" Target="../media/image8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pacc.sa/" TargetMode="External"/><Relationship Id="rId11" Type="http://schemas.openxmlformats.org/officeDocument/2006/relationships/image" Target="../media/image79.png"/><Relationship Id="rId5" Type="http://schemas.openxmlformats.org/officeDocument/2006/relationships/image" Target="../media/image57.png"/><Relationship Id="rId10" Type="http://schemas.openxmlformats.org/officeDocument/2006/relationships/hyperlink" Target="https://svp-international.pacc.sa/home" TargetMode="External"/><Relationship Id="rId4" Type="http://schemas.openxmlformats.org/officeDocument/2006/relationships/image" Target="../media/image56.png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6.jpeg"/><Relationship Id="rId4" Type="http://schemas.openxmlformats.org/officeDocument/2006/relationships/image" Target="../media/image2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5.png"/><Relationship Id="rId11" Type="http://schemas.openxmlformats.org/officeDocument/2006/relationships/image" Target="../media/image23.png"/><Relationship Id="rId5" Type="http://schemas.openxmlformats.org/officeDocument/2006/relationships/image" Target="../media/image84.png"/><Relationship Id="rId10" Type="http://schemas.openxmlformats.org/officeDocument/2006/relationships/image" Target="../media/image89.jpeg"/><Relationship Id="rId4" Type="http://schemas.openxmlformats.org/officeDocument/2006/relationships/image" Target="../media/image83.png"/><Relationship Id="rId9" Type="http://schemas.openxmlformats.org/officeDocument/2006/relationships/image" Target="../media/image88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image" Target="../media/image49.svg"/><Relationship Id="rId3" Type="http://schemas.openxmlformats.org/officeDocument/2006/relationships/tags" Target="../tags/tag22.xml"/><Relationship Id="rId21" Type="http://schemas.openxmlformats.org/officeDocument/2006/relationships/image" Target="../media/image92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image" Target="../media/image48.png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9.xml"/><Relationship Id="rId20" Type="http://schemas.openxmlformats.org/officeDocument/2006/relationships/image" Target="../media/image91.sv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image" Target="../media/image90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9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4" Type="http://schemas.openxmlformats.org/officeDocument/2006/relationships/image" Target="../media/image40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F8420C-9EFC-A929-7618-CBC4CAC39E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69387" y="6014397"/>
            <a:ext cx="1325880" cy="283440"/>
          </a:xfrm>
        </p:spPr>
        <p:txBody>
          <a:bodyPr/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eb 2024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EE1EF0-FE00-E44D-5A0B-B6D947B83DE7}"/>
              </a:ext>
            </a:extLst>
          </p:cNvPr>
          <p:cNvSpPr/>
          <p:nvPr/>
        </p:nvSpPr>
        <p:spPr>
          <a:xfrm>
            <a:off x="8488392" y="629728"/>
            <a:ext cx="3321170" cy="1000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logo with text on it&#10;&#10;Description automatically generated">
            <a:extLst>
              <a:ext uri="{FF2B5EF4-FFF2-40B4-BE49-F238E27FC236}">
                <a16:creationId xmlns:a16="http://schemas.microsoft.com/office/drawing/2014/main" id="{E2434429-7181-C835-9565-1EB19605F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861" y="-196433"/>
            <a:ext cx="3847381" cy="192369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7384A5B-2E99-D018-B97D-0EC2E6D71E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6963" y="5814023"/>
            <a:ext cx="1325881" cy="68418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99891B9-9624-5F82-B3EA-E7233A773584}"/>
              </a:ext>
            </a:extLst>
          </p:cNvPr>
          <p:cNvSpPr/>
          <p:nvPr/>
        </p:nvSpPr>
        <p:spPr>
          <a:xfrm>
            <a:off x="3631721" y="3140013"/>
            <a:ext cx="8560279" cy="13008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714D4B52-82CC-E9F2-108B-D991B966DFF3}"/>
              </a:ext>
            </a:extLst>
          </p:cNvPr>
          <p:cNvSpPr txBox="1">
            <a:spLocks/>
          </p:cNvSpPr>
          <p:nvPr/>
        </p:nvSpPr>
        <p:spPr>
          <a:xfrm>
            <a:off x="4152187" y="3483054"/>
            <a:ext cx="7519346" cy="72929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Greta Arabic" pitchFamily="2" charset="-78"/>
                <a:ea typeface="+mj-ea"/>
                <a:cs typeface="+mj-cs"/>
              </a:defRPr>
            </a:lvl1pPr>
          </a:lstStyle>
          <a:p>
            <a:pPr algn="ctr" rtl="0"/>
            <a:r>
              <a:rPr lang="en-US" sz="5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Accreditation</a:t>
            </a:r>
            <a:endParaRPr lang="en-US" sz="54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Text&#10;&#10;Description automatically generated with medium confidence">
            <a:extLst>
              <a:ext uri="{FF2B5EF4-FFF2-40B4-BE49-F238E27FC236}">
                <a16:creationId xmlns:a16="http://schemas.microsoft.com/office/drawing/2014/main" id="{E421257E-45E5-8B2D-6B71-233D0E5869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42" y="387221"/>
            <a:ext cx="3066920" cy="72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656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The qualification verification program is designed for highly skilled workers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. </a:t>
            </a:r>
            <a:r>
              <a:rPr lang="fr-FR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fications 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5790F6D-FC57-AD59-BE34-0064B9474AE8}"/>
              </a:ext>
            </a:extLst>
          </p:cNvPr>
          <p:cNvGrpSpPr/>
          <p:nvPr/>
        </p:nvGrpSpPr>
        <p:grpSpPr>
          <a:xfrm>
            <a:off x="747735" y="1949557"/>
            <a:ext cx="2878948" cy="3563020"/>
            <a:chOff x="747735" y="1949557"/>
            <a:chExt cx="2878948" cy="3563020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8176340-65A9-09AB-662E-3D2132610739}"/>
                </a:ext>
              </a:extLst>
            </p:cNvPr>
            <p:cNvGrpSpPr/>
            <p:nvPr/>
          </p:nvGrpSpPr>
          <p:grpSpPr>
            <a:xfrm>
              <a:off x="747735" y="1949557"/>
              <a:ext cx="2878948" cy="3563020"/>
              <a:chOff x="11709381" y="3830473"/>
              <a:chExt cx="5757895" cy="7126035"/>
            </a:xfrm>
          </p:grpSpPr>
          <p:sp>
            <p:nvSpPr>
              <p:cNvPr id="67" name="Rectangle: Top Corners Rounded 66">
                <a:extLst>
                  <a:ext uri="{FF2B5EF4-FFF2-40B4-BE49-F238E27FC236}">
                    <a16:creationId xmlns:a16="http://schemas.microsoft.com/office/drawing/2014/main" id="{08510389-583F-3B7F-CB6D-BB59016BDA51}"/>
                  </a:ext>
                </a:extLst>
              </p:cNvPr>
              <p:cNvSpPr/>
              <p:nvPr/>
            </p:nvSpPr>
            <p:spPr>
              <a:xfrm rot="16200000" flipH="1">
                <a:off x="11179241" y="4603142"/>
                <a:ext cx="1564897" cy="493802"/>
              </a:xfrm>
              <a:prstGeom prst="round2SameRect">
                <a:avLst>
                  <a:gd name="adj1" fmla="val 15343"/>
                  <a:gd name="adj2" fmla="val 0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Rectangle: Top Corners Rounded 67">
                <a:extLst>
                  <a:ext uri="{FF2B5EF4-FFF2-40B4-BE49-F238E27FC236}">
                    <a16:creationId xmlns:a16="http://schemas.microsoft.com/office/drawing/2014/main" id="{5BAF55C7-51E6-A529-7600-E2EEC0A4A243}"/>
                  </a:ext>
                </a:extLst>
              </p:cNvPr>
              <p:cNvSpPr/>
              <p:nvPr/>
            </p:nvSpPr>
            <p:spPr>
              <a:xfrm flipH="1">
                <a:off x="12002255" y="4352813"/>
                <a:ext cx="5465021" cy="6566417"/>
              </a:xfrm>
              <a:prstGeom prst="round2SameRect">
                <a:avLst>
                  <a:gd name="adj1" fmla="val 7051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Arrow: Pentagon 68">
                <a:extLst>
                  <a:ext uri="{FF2B5EF4-FFF2-40B4-BE49-F238E27FC236}">
                    <a16:creationId xmlns:a16="http://schemas.microsoft.com/office/drawing/2014/main" id="{475EAECC-33F0-CB7A-452A-8F4390A3BEE7}"/>
                  </a:ext>
                </a:extLst>
              </p:cNvPr>
              <p:cNvSpPr/>
              <p:nvPr/>
            </p:nvSpPr>
            <p:spPr>
              <a:xfrm rot="5400000">
                <a:off x="13653487" y="2153835"/>
                <a:ext cx="2137152" cy="5490427"/>
              </a:xfrm>
              <a:prstGeom prst="homePlate">
                <a:avLst>
                  <a:gd name="adj" fmla="val 21667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Rectangle: Top Corners Rounded 69">
                <a:extLst>
                  <a:ext uri="{FF2B5EF4-FFF2-40B4-BE49-F238E27FC236}">
                    <a16:creationId xmlns:a16="http://schemas.microsoft.com/office/drawing/2014/main" id="{E331EE44-40D1-3734-15E2-11F34949AFDE}"/>
                  </a:ext>
                </a:extLst>
              </p:cNvPr>
              <p:cNvSpPr/>
              <p:nvPr/>
            </p:nvSpPr>
            <p:spPr>
              <a:xfrm rot="5400000" flipH="1">
                <a:off x="11869764" y="3907205"/>
                <a:ext cx="1316201" cy="163696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BEA24D38-0599-AA85-C648-76D296646164}"/>
                  </a:ext>
                </a:extLst>
              </p:cNvPr>
              <p:cNvSpPr/>
              <p:nvPr/>
            </p:nvSpPr>
            <p:spPr>
              <a:xfrm flipH="1" flipV="1">
                <a:off x="12525789" y="10865070"/>
                <a:ext cx="4197275" cy="91438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093952B5-66FD-79CD-933A-4FEFDF2B5DD5}"/>
                  </a:ext>
                </a:extLst>
              </p:cNvPr>
              <p:cNvSpPr/>
              <p:nvPr/>
            </p:nvSpPr>
            <p:spPr>
              <a:xfrm flipH="1">
                <a:off x="11984328" y="4197054"/>
                <a:ext cx="1101460" cy="1021840"/>
              </a:xfrm>
              <a:prstGeom prst="ellipse">
                <a:avLst/>
              </a:prstGeom>
              <a:solidFill>
                <a:schemeClr val="tx2"/>
              </a:solidFill>
              <a:ln w="1905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00" rtl="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4179EE7-C8F4-68B9-8762-353A163DBE6F}"/>
                  </a:ext>
                </a:extLst>
              </p:cNvPr>
              <p:cNvSpPr txBox="1"/>
              <p:nvPr/>
            </p:nvSpPr>
            <p:spPr>
              <a:xfrm>
                <a:off x="12182775" y="4979700"/>
                <a:ext cx="650084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ctr" defTabSz="457200" rtl="1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QVP</a:t>
                </a:r>
                <a:endParaRPr kumimoji="0" lang="en-US" sz="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23A374C5-286F-5451-C259-9B7682D79CF2}"/>
                  </a:ext>
                </a:extLst>
              </p:cNvPr>
              <p:cNvGrpSpPr/>
              <p:nvPr/>
            </p:nvGrpSpPr>
            <p:grpSpPr>
              <a:xfrm>
                <a:off x="12203193" y="4318436"/>
                <a:ext cx="629943" cy="635549"/>
                <a:chOff x="4081463" y="728663"/>
                <a:chExt cx="357188" cy="360363"/>
              </a:xfrm>
              <a:solidFill>
                <a:srgbClr val="FFFFFF"/>
              </a:solidFill>
            </p:grpSpPr>
            <p:sp>
              <p:nvSpPr>
                <p:cNvPr id="84" name="Freeform 91">
                  <a:extLst>
                    <a:ext uri="{FF2B5EF4-FFF2-40B4-BE49-F238E27FC236}">
                      <a16:creationId xmlns:a16="http://schemas.microsoft.com/office/drawing/2014/main" id="{36F92934-3CED-2089-33C3-7CCC0BDB3F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1463" y="936625"/>
                  <a:ext cx="141288" cy="152400"/>
                </a:xfrm>
                <a:custGeom>
                  <a:avLst/>
                  <a:gdLst>
                    <a:gd name="T0" fmla="*/ 322 w 534"/>
                    <a:gd name="T1" fmla="*/ 576 h 576"/>
                    <a:gd name="T2" fmla="*/ 322 w 534"/>
                    <a:gd name="T3" fmla="*/ 576 h 576"/>
                    <a:gd name="T4" fmla="*/ 320 w 534"/>
                    <a:gd name="T5" fmla="*/ 576 h 576"/>
                    <a:gd name="T6" fmla="*/ 320 w 534"/>
                    <a:gd name="T7" fmla="*/ 576 h 576"/>
                    <a:gd name="T8" fmla="*/ 312 w 534"/>
                    <a:gd name="T9" fmla="*/ 574 h 576"/>
                    <a:gd name="T10" fmla="*/ 305 w 534"/>
                    <a:gd name="T11" fmla="*/ 570 h 576"/>
                    <a:gd name="T12" fmla="*/ 300 w 534"/>
                    <a:gd name="T13" fmla="*/ 565 h 576"/>
                    <a:gd name="T14" fmla="*/ 296 w 534"/>
                    <a:gd name="T15" fmla="*/ 558 h 576"/>
                    <a:gd name="T16" fmla="*/ 228 w 534"/>
                    <a:gd name="T17" fmla="*/ 372 h 576"/>
                    <a:gd name="T18" fmla="*/ 34 w 534"/>
                    <a:gd name="T19" fmla="*/ 405 h 576"/>
                    <a:gd name="T20" fmla="*/ 34 w 534"/>
                    <a:gd name="T21" fmla="*/ 405 h 576"/>
                    <a:gd name="T22" fmla="*/ 25 w 534"/>
                    <a:gd name="T23" fmla="*/ 406 h 576"/>
                    <a:gd name="T24" fmla="*/ 17 w 534"/>
                    <a:gd name="T25" fmla="*/ 404 h 576"/>
                    <a:gd name="T26" fmla="*/ 11 w 534"/>
                    <a:gd name="T27" fmla="*/ 400 h 576"/>
                    <a:gd name="T28" fmla="*/ 5 w 534"/>
                    <a:gd name="T29" fmla="*/ 394 h 576"/>
                    <a:gd name="T30" fmla="*/ 5 w 534"/>
                    <a:gd name="T31" fmla="*/ 394 h 576"/>
                    <a:gd name="T32" fmla="*/ 2 w 534"/>
                    <a:gd name="T33" fmla="*/ 387 h 576"/>
                    <a:gd name="T34" fmla="*/ 0 w 534"/>
                    <a:gd name="T35" fmla="*/ 378 h 576"/>
                    <a:gd name="T36" fmla="*/ 1 w 534"/>
                    <a:gd name="T37" fmla="*/ 370 h 576"/>
                    <a:gd name="T38" fmla="*/ 4 w 534"/>
                    <a:gd name="T39" fmla="*/ 363 h 576"/>
                    <a:gd name="T40" fmla="*/ 214 w 534"/>
                    <a:gd name="T41" fmla="*/ 0 h 576"/>
                    <a:gd name="T42" fmla="*/ 264 w 534"/>
                    <a:gd name="T43" fmla="*/ 28 h 576"/>
                    <a:gd name="T44" fmla="*/ 84 w 534"/>
                    <a:gd name="T45" fmla="*/ 339 h 576"/>
                    <a:gd name="T46" fmla="*/ 243 w 534"/>
                    <a:gd name="T47" fmla="*/ 313 h 576"/>
                    <a:gd name="T48" fmla="*/ 243 w 534"/>
                    <a:gd name="T49" fmla="*/ 313 h 576"/>
                    <a:gd name="T50" fmla="*/ 248 w 534"/>
                    <a:gd name="T51" fmla="*/ 312 h 576"/>
                    <a:gd name="T52" fmla="*/ 252 w 534"/>
                    <a:gd name="T53" fmla="*/ 313 h 576"/>
                    <a:gd name="T54" fmla="*/ 257 w 534"/>
                    <a:gd name="T55" fmla="*/ 314 h 576"/>
                    <a:gd name="T56" fmla="*/ 261 w 534"/>
                    <a:gd name="T57" fmla="*/ 316 h 576"/>
                    <a:gd name="T58" fmla="*/ 265 w 534"/>
                    <a:gd name="T59" fmla="*/ 319 h 576"/>
                    <a:gd name="T60" fmla="*/ 269 w 534"/>
                    <a:gd name="T61" fmla="*/ 322 h 576"/>
                    <a:gd name="T62" fmla="*/ 272 w 534"/>
                    <a:gd name="T63" fmla="*/ 326 h 576"/>
                    <a:gd name="T64" fmla="*/ 274 w 534"/>
                    <a:gd name="T65" fmla="*/ 331 h 576"/>
                    <a:gd name="T66" fmla="*/ 328 w 534"/>
                    <a:gd name="T67" fmla="*/ 482 h 576"/>
                    <a:gd name="T68" fmla="*/ 484 w 534"/>
                    <a:gd name="T69" fmla="*/ 221 h 576"/>
                    <a:gd name="T70" fmla="*/ 534 w 534"/>
                    <a:gd name="T71" fmla="*/ 250 h 576"/>
                    <a:gd name="T72" fmla="*/ 347 w 534"/>
                    <a:gd name="T73" fmla="*/ 563 h 576"/>
                    <a:gd name="T74" fmla="*/ 347 w 534"/>
                    <a:gd name="T75" fmla="*/ 563 h 576"/>
                    <a:gd name="T76" fmla="*/ 343 w 534"/>
                    <a:gd name="T77" fmla="*/ 568 h 576"/>
                    <a:gd name="T78" fmla="*/ 337 w 534"/>
                    <a:gd name="T79" fmla="*/ 573 h 576"/>
                    <a:gd name="T80" fmla="*/ 330 w 534"/>
                    <a:gd name="T81" fmla="*/ 575 h 576"/>
                    <a:gd name="T82" fmla="*/ 322 w 534"/>
                    <a:gd name="T83" fmla="*/ 576 h 576"/>
                    <a:gd name="T84" fmla="*/ 322 w 534"/>
                    <a:gd name="T85" fmla="*/ 576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34" h="576">
                      <a:moveTo>
                        <a:pt x="322" y="576"/>
                      </a:moveTo>
                      <a:lnTo>
                        <a:pt x="322" y="576"/>
                      </a:lnTo>
                      <a:lnTo>
                        <a:pt x="320" y="576"/>
                      </a:lnTo>
                      <a:lnTo>
                        <a:pt x="320" y="576"/>
                      </a:lnTo>
                      <a:lnTo>
                        <a:pt x="312" y="574"/>
                      </a:lnTo>
                      <a:lnTo>
                        <a:pt x="305" y="570"/>
                      </a:lnTo>
                      <a:lnTo>
                        <a:pt x="300" y="565"/>
                      </a:lnTo>
                      <a:lnTo>
                        <a:pt x="296" y="558"/>
                      </a:lnTo>
                      <a:lnTo>
                        <a:pt x="228" y="372"/>
                      </a:lnTo>
                      <a:lnTo>
                        <a:pt x="34" y="405"/>
                      </a:lnTo>
                      <a:lnTo>
                        <a:pt x="34" y="405"/>
                      </a:lnTo>
                      <a:lnTo>
                        <a:pt x="25" y="406"/>
                      </a:lnTo>
                      <a:lnTo>
                        <a:pt x="17" y="404"/>
                      </a:lnTo>
                      <a:lnTo>
                        <a:pt x="11" y="400"/>
                      </a:lnTo>
                      <a:lnTo>
                        <a:pt x="5" y="394"/>
                      </a:lnTo>
                      <a:lnTo>
                        <a:pt x="5" y="394"/>
                      </a:lnTo>
                      <a:lnTo>
                        <a:pt x="2" y="387"/>
                      </a:lnTo>
                      <a:lnTo>
                        <a:pt x="0" y="378"/>
                      </a:lnTo>
                      <a:lnTo>
                        <a:pt x="1" y="370"/>
                      </a:lnTo>
                      <a:lnTo>
                        <a:pt x="4" y="363"/>
                      </a:lnTo>
                      <a:lnTo>
                        <a:pt x="214" y="0"/>
                      </a:lnTo>
                      <a:lnTo>
                        <a:pt x="264" y="28"/>
                      </a:lnTo>
                      <a:lnTo>
                        <a:pt x="84" y="339"/>
                      </a:lnTo>
                      <a:lnTo>
                        <a:pt x="243" y="313"/>
                      </a:lnTo>
                      <a:lnTo>
                        <a:pt x="243" y="313"/>
                      </a:lnTo>
                      <a:lnTo>
                        <a:pt x="248" y="312"/>
                      </a:lnTo>
                      <a:lnTo>
                        <a:pt x="252" y="313"/>
                      </a:lnTo>
                      <a:lnTo>
                        <a:pt x="257" y="314"/>
                      </a:lnTo>
                      <a:lnTo>
                        <a:pt x="261" y="316"/>
                      </a:lnTo>
                      <a:lnTo>
                        <a:pt x="265" y="319"/>
                      </a:lnTo>
                      <a:lnTo>
                        <a:pt x="269" y="322"/>
                      </a:lnTo>
                      <a:lnTo>
                        <a:pt x="272" y="326"/>
                      </a:lnTo>
                      <a:lnTo>
                        <a:pt x="274" y="331"/>
                      </a:lnTo>
                      <a:lnTo>
                        <a:pt x="328" y="482"/>
                      </a:lnTo>
                      <a:lnTo>
                        <a:pt x="484" y="221"/>
                      </a:lnTo>
                      <a:lnTo>
                        <a:pt x="534" y="250"/>
                      </a:lnTo>
                      <a:lnTo>
                        <a:pt x="347" y="563"/>
                      </a:lnTo>
                      <a:lnTo>
                        <a:pt x="347" y="563"/>
                      </a:lnTo>
                      <a:lnTo>
                        <a:pt x="343" y="568"/>
                      </a:lnTo>
                      <a:lnTo>
                        <a:pt x="337" y="573"/>
                      </a:lnTo>
                      <a:lnTo>
                        <a:pt x="330" y="575"/>
                      </a:lnTo>
                      <a:lnTo>
                        <a:pt x="322" y="576"/>
                      </a:lnTo>
                      <a:lnTo>
                        <a:pt x="322" y="57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Freeform 92">
                  <a:extLst>
                    <a:ext uri="{FF2B5EF4-FFF2-40B4-BE49-F238E27FC236}">
                      <a16:creationId xmlns:a16="http://schemas.microsoft.com/office/drawing/2014/main" id="{784F6C39-A380-EA9A-50AD-88F4E22AA4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7363" y="938213"/>
                  <a:ext cx="141288" cy="150813"/>
                </a:xfrm>
                <a:custGeom>
                  <a:avLst/>
                  <a:gdLst>
                    <a:gd name="T0" fmla="*/ 210 w 533"/>
                    <a:gd name="T1" fmla="*/ 571 h 571"/>
                    <a:gd name="T2" fmla="*/ 210 w 533"/>
                    <a:gd name="T3" fmla="*/ 571 h 571"/>
                    <a:gd name="T4" fmla="*/ 203 w 533"/>
                    <a:gd name="T5" fmla="*/ 570 h 571"/>
                    <a:gd name="T6" fmla="*/ 196 w 533"/>
                    <a:gd name="T7" fmla="*/ 568 h 571"/>
                    <a:gd name="T8" fmla="*/ 190 w 533"/>
                    <a:gd name="T9" fmla="*/ 563 h 571"/>
                    <a:gd name="T10" fmla="*/ 186 w 533"/>
                    <a:gd name="T11" fmla="*/ 558 h 571"/>
                    <a:gd name="T12" fmla="*/ 0 w 533"/>
                    <a:gd name="T13" fmla="*/ 247 h 571"/>
                    <a:gd name="T14" fmla="*/ 49 w 533"/>
                    <a:gd name="T15" fmla="*/ 218 h 571"/>
                    <a:gd name="T16" fmla="*/ 204 w 533"/>
                    <a:gd name="T17" fmla="*/ 477 h 571"/>
                    <a:gd name="T18" fmla="*/ 260 w 533"/>
                    <a:gd name="T19" fmla="*/ 326 h 571"/>
                    <a:gd name="T20" fmla="*/ 260 w 533"/>
                    <a:gd name="T21" fmla="*/ 326 h 571"/>
                    <a:gd name="T22" fmla="*/ 262 w 533"/>
                    <a:gd name="T23" fmla="*/ 321 h 571"/>
                    <a:gd name="T24" fmla="*/ 265 w 533"/>
                    <a:gd name="T25" fmla="*/ 317 h 571"/>
                    <a:gd name="T26" fmla="*/ 268 w 533"/>
                    <a:gd name="T27" fmla="*/ 314 h 571"/>
                    <a:gd name="T28" fmla="*/ 272 w 533"/>
                    <a:gd name="T29" fmla="*/ 311 h 571"/>
                    <a:gd name="T30" fmla="*/ 276 w 533"/>
                    <a:gd name="T31" fmla="*/ 309 h 571"/>
                    <a:gd name="T32" fmla="*/ 281 w 533"/>
                    <a:gd name="T33" fmla="*/ 308 h 571"/>
                    <a:gd name="T34" fmla="*/ 286 w 533"/>
                    <a:gd name="T35" fmla="*/ 307 h 571"/>
                    <a:gd name="T36" fmla="*/ 291 w 533"/>
                    <a:gd name="T37" fmla="*/ 308 h 571"/>
                    <a:gd name="T38" fmla="*/ 450 w 533"/>
                    <a:gd name="T39" fmla="*/ 334 h 571"/>
                    <a:gd name="T40" fmla="*/ 272 w 533"/>
                    <a:gd name="T41" fmla="*/ 28 h 571"/>
                    <a:gd name="T42" fmla="*/ 322 w 533"/>
                    <a:gd name="T43" fmla="*/ 0 h 571"/>
                    <a:gd name="T44" fmla="*/ 529 w 533"/>
                    <a:gd name="T45" fmla="*/ 358 h 571"/>
                    <a:gd name="T46" fmla="*/ 529 w 533"/>
                    <a:gd name="T47" fmla="*/ 358 h 571"/>
                    <a:gd name="T48" fmla="*/ 532 w 533"/>
                    <a:gd name="T49" fmla="*/ 365 h 571"/>
                    <a:gd name="T50" fmla="*/ 533 w 533"/>
                    <a:gd name="T51" fmla="*/ 373 h 571"/>
                    <a:gd name="T52" fmla="*/ 532 w 533"/>
                    <a:gd name="T53" fmla="*/ 382 h 571"/>
                    <a:gd name="T54" fmla="*/ 528 w 533"/>
                    <a:gd name="T55" fmla="*/ 389 h 571"/>
                    <a:gd name="T56" fmla="*/ 528 w 533"/>
                    <a:gd name="T57" fmla="*/ 389 h 571"/>
                    <a:gd name="T58" fmla="*/ 523 w 533"/>
                    <a:gd name="T59" fmla="*/ 395 h 571"/>
                    <a:gd name="T60" fmla="*/ 515 w 533"/>
                    <a:gd name="T61" fmla="*/ 399 h 571"/>
                    <a:gd name="T62" fmla="*/ 507 w 533"/>
                    <a:gd name="T63" fmla="*/ 401 h 571"/>
                    <a:gd name="T64" fmla="*/ 499 w 533"/>
                    <a:gd name="T65" fmla="*/ 400 h 571"/>
                    <a:gd name="T66" fmla="*/ 304 w 533"/>
                    <a:gd name="T67" fmla="*/ 367 h 571"/>
                    <a:gd name="T68" fmla="*/ 237 w 533"/>
                    <a:gd name="T69" fmla="*/ 553 h 571"/>
                    <a:gd name="T70" fmla="*/ 237 w 533"/>
                    <a:gd name="T71" fmla="*/ 553 h 571"/>
                    <a:gd name="T72" fmla="*/ 234 w 533"/>
                    <a:gd name="T73" fmla="*/ 560 h 571"/>
                    <a:gd name="T74" fmla="*/ 228 w 533"/>
                    <a:gd name="T75" fmla="*/ 565 h 571"/>
                    <a:gd name="T76" fmla="*/ 221 w 533"/>
                    <a:gd name="T77" fmla="*/ 569 h 571"/>
                    <a:gd name="T78" fmla="*/ 213 w 533"/>
                    <a:gd name="T79" fmla="*/ 571 h 571"/>
                    <a:gd name="T80" fmla="*/ 213 w 533"/>
                    <a:gd name="T81" fmla="*/ 571 h 571"/>
                    <a:gd name="T82" fmla="*/ 210 w 533"/>
                    <a:gd name="T83" fmla="*/ 571 h 571"/>
                    <a:gd name="T84" fmla="*/ 210 w 533"/>
                    <a:gd name="T85" fmla="*/ 571 h 5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33" h="571">
                      <a:moveTo>
                        <a:pt x="210" y="571"/>
                      </a:moveTo>
                      <a:lnTo>
                        <a:pt x="210" y="571"/>
                      </a:lnTo>
                      <a:lnTo>
                        <a:pt x="203" y="570"/>
                      </a:lnTo>
                      <a:lnTo>
                        <a:pt x="196" y="568"/>
                      </a:lnTo>
                      <a:lnTo>
                        <a:pt x="190" y="563"/>
                      </a:lnTo>
                      <a:lnTo>
                        <a:pt x="186" y="558"/>
                      </a:lnTo>
                      <a:lnTo>
                        <a:pt x="0" y="247"/>
                      </a:lnTo>
                      <a:lnTo>
                        <a:pt x="49" y="218"/>
                      </a:lnTo>
                      <a:lnTo>
                        <a:pt x="204" y="477"/>
                      </a:lnTo>
                      <a:lnTo>
                        <a:pt x="260" y="326"/>
                      </a:lnTo>
                      <a:lnTo>
                        <a:pt x="260" y="326"/>
                      </a:lnTo>
                      <a:lnTo>
                        <a:pt x="262" y="321"/>
                      </a:lnTo>
                      <a:lnTo>
                        <a:pt x="265" y="317"/>
                      </a:lnTo>
                      <a:lnTo>
                        <a:pt x="268" y="314"/>
                      </a:lnTo>
                      <a:lnTo>
                        <a:pt x="272" y="311"/>
                      </a:lnTo>
                      <a:lnTo>
                        <a:pt x="276" y="309"/>
                      </a:lnTo>
                      <a:lnTo>
                        <a:pt x="281" y="308"/>
                      </a:lnTo>
                      <a:lnTo>
                        <a:pt x="286" y="307"/>
                      </a:lnTo>
                      <a:lnTo>
                        <a:pt x="291" y="308"/>
                      </a:lnTo>
                      <a:lnTo>
                        <a:pt x="450" y="334"/>
                      </a:lnTo>
                      <a:lnTo>
                        <a:pt x="272" y="28"/>
                      </a:lnTo>
                      <a:lnTo>
                        <a:pt x="322" y="0"/>
                      </a:lnTo>
                      <a:lnTo>
                        <a:pt x="529" y="358"/>
                      </a:lnTo>
                      <a:lnTo>
                        <a:pt x="529" y="358"/>
                      </a:lnTo>
                      <a:lnTo>
                        <a:pt x="532" y="365"/>
                      </a:lnTo>
                      <a:lnTo>
                        <a:pt x="533" y="373"/>
                      </a:lnTo>
                      <a:lnTo>
                        <a:pt x="532" y="382"/>
                      </a:lnTo>
                      <a:lnTo>
                        <a:pt x="528" y="389"/>
                      </a:lnTo>
                      <a:lnTo>
                        <a:pt x="528" y="389"/>
                      </a:lnTo>
                      <a:lnTo>
                        <a:pt x="523" y="395"/>
                      </a:lnTo>
                      <a:lnTo>
                        <a:pt x="515" y="399"/>
                      </a:lnTo>
                      <a:lnTo>
                        <a:pt x="507" y="401"/>
                      </a:lnTo>
                      <a:lnTo>
                        <a:pt x="499" y="400"/>
                      </a:lnTo>
                      <a:lnTo>
                        <a:pt x="304" y="367"/>
                      </a:lnTo>
                      <a:lnTo>
                        <a:pt x="237" y="553"/>
                      </a:lnTo>
                      <a:lnTo>
                        <a:pt x="237" y="553"/>
                      </a:lnTo>
                      <a:lnTo>
                        <a:pt x="234" y="560"/>
                      </a:lnTo>
                      <a:lnTo>
                        <a:pt x="228" y="565"/>
                      </a:lnTo>
                      <a:lnTo>
                        <a:pt x="221" y="569"/>
                      </a:lnTo>
                      <a:lnTo>
                        <a:pt x="213" y="571"/>
                      </a:lnTo>
                      <a:lnTo>
                        <a:pt x="213" y="571"/>
                      </a:lnTo>
                      <a:lnTo>
                        <a:pt x="210" y="571"/>
                      </a:lnTo>
                      <a:lnTo>
                        <a:pt x="210" y="5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Freeform 93">
                  <a:extLst>
                    <a:ext uri="{FF2B5EF4-FFF2-40B4-BE49-F238E27FC236}">
                      <a16:creationId xmlns:a16="http://schemas.microsoft.com/office/drawing/2014/main" id="{AA6B97F1-0D86-4565-BAAA-74D08001B1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19563" y="728663"/>
                  <a:ext cx="284163" cy="285750"/>
                </a:xfrm>
                <a:custGeom>
                  <a:avLst/>
                  <a:gdLst>
                    <a:gd name="T0" fmla="*/ 456 w 1076"/>
                    <a:gd name="T1" fmla="*/ 1071 h 1078"/>
                    <a:gd name="T2" fmla="*/ 328 w 1076"/>
                    <a:gd name="T3" fmla="*/ 1035 h 1078"/>
                    <a:gd name="T4" fmla="*/ 216 w 1076"/>
                    <a:gd name="T5" fmla="*/ 971 h 1078"/>
                    <a:gd name="T6" fmla="*/ 122 w 1076"/>
                    <a:gd name="T7" fmla="*/ 881 h 1078"/>
                    <a:gd name="T8" fmla="*/ 52 w 1076"/>
                    <a:gd name="T9" fmla="*/ 772 h 1078"/>
                    <a:gd name="T10" fmla="*/ 10 w 1076"/>
                    <a:gd name="T11" fmla="*/ 647 h 1078"/>
                    <a:gd name="T12" fmla="*/ 0 w 1076"/>
                    <a:gd name="T13" fmla="*/ 538 h 1078"/>
                    <a:gd name="T14" fmla="*/ 16 w 1076"/>
                    <a:gd name="T15" fmla="*/ 404 h 1078"/>
                    <a:gd name="T16" fmla="*/ 64 w 1076"/>
                    <a:gd name="T17" fmla="*/ 283 h 1078"/>
                    <a:gd name="T18" fmla="*/ 139 w 1076"/>
                    <a:gd name="T19" fmla="*/ 177 h 1078"/>
                    <a:gd name="T20" fmla="*/ 237 w 1076"/>
                    <a:gd name="T21" fmla="*/ 93 h 1078"/>
                    <a:gd name="T22" fmla="*/ 353 w 1076"/>
                    <a:gd name="T23" fmla="*/ 33 h 1078"/>
                    <a:gd name="T24" fmla="*/ 482 w 1076"/>
                    <a:gd name="T25" fmla="*/ 3 h 1078"/>
                    <a:gd name="T26" fmla="*/ 593 w 1076"/>
                    <a:gd name="T27" fmla="*/ 3 h 1078"/>
                    <a:gd name="T28" fmla="*/ 723 w 1076"/>
                    <a:gd name="T29" fmla="*/ 33 h 1078"/>
                    <a:gd name="T30" fmla="*/ 839 w 1076"/>
                    <a:gd name="T31" fmla="*/ 93 h 1078"/>
                    <a:gd name="T32" fmla="*/ 936 w 1076"/>
                    <a:gd name="T33" fmla="*/ 177 h 1078"/>
                    <a:gd name="T34" fmla="*/ 1011 w 1076"/>
                    <a:gd name="T35" fmla="*/ 283 h 1078"/>
                    <a:gd name="T36" fmla="*/ 1059 w 1076"/>
                    <a:gd name="T37" fmla="*/ 404 h 1078"/>
                    <a:gd name="T38" fmla="*/ 1076 w 1076"/>
                    <a:gd name="T39" fmla="*/ 538 h 1078"/>
                    <a:gd name="T40" fmla="*/ 1065 w 1076"/>
                    <a:gd name="T41" fmla="*/ 647 h 1078"/>
                    <a:gd name="T42" fmla="*/ 1023 w 1076"/>
                    <a:gd name="T43" fmla="*/ 772 h 1078"/>
                    <a:gd name="T44" fmla="*/ 953 w 1076"/>
                    <a:gd name="T45" fmla="*/ 881 h 1078"/>
                    <a:gd name="T46" fmla="*/ 860 w 1076"/>
                    <a:gd name="T47" fmla="*/ 971 h 1078"/>
                    <a:gd name="T48" fmla="*/ 747 w 1076"/>
                    <a:gd name="T49" fmla="*/ 1035 h 1078"/>
                    <a:gd name="T50" fmla="*/ 620 w 1076"/>
                    <a:gd name="T51" fmla="*/ 1071 h 1078"/>
                    <a:gd name="T52" fmla="*/ 538 w 1076"/>
                    <a:gd name="T53" fmla="*/ 57 h 1078"/>
                    <a:gd name="T54" fmla="*/ 441 w 1076"/>
                    <a:gd name="T55" fmla="*/ 67 h 1078"/>
                    <a:gd name="T56" fmla="*/ 329 w 1076"/>
                    <a:gd name="T57" fmla="*/ 105 h 1078"/>
                    <a:gd name="T58" fmla="*/ 231 w 1076"/>
                    <a:gd name="T59" fmla="*/ 168 h 1078"/>
                    <a:gd name="T60" fmla="*/ 152 w 1076"/>
                    <a:gd name="T61" fmla="*/ 250 h 1078"/>
                    <a:gd name="T62" fmla="*/ 94 w 1076"/>
                    <a:gd name="T63" fmla="*/ 351 h 1078"/>
                    <a:gd name="T64" fmla="*/ 61 w 1076"/>
                    <a:gd name="T65" fmla="*/ 466 h 1078"/>
                    <a:gd name="T66" fmla="*/ 56 w 1076"/>
                    <a:gd name="T67" fmla="*/ 564 h 1078"/>
                    <a:gd name="T68" fmla="*/ 77 w 1076"/>
                    <a:gd name="T69" fmla="*/ 682 h 1078"/>
                    <a:gd name="T70" fmla="*/ 126 w 1076"/>
                    <a:gd name="T71" fmla="*/ 789 h 1078"/>
                    <a:gd name="T72" fmla="*/ 198 w 1076"/>
                    <a:gd name="T73" fmla="*/ 880 h 1078"/>
                    <a:gd name="T74" fmla="*/ 288 w 1076"/>
                    <a:gd name="T75" fmla="*/ 950 h 1078"/>
                    <a:gd name="T76" fmla="*/ 395 w 1076"/>
                    <a:gd name="T77" fmla="*/ 999 h 1078"/>
                    <a:gd name="T78" fmla="*/ 513 w 1076"/>
                    <a:gd name="T79" fmla="*/ 1020 h 1078"/>
                    <a:gd name="T80" fmla="*/ 611 w 1076"/>
                    <a:gd name="T81" fmla="*/ 1015 h 1078"/>
                    <a:gd name="T82" fmla="*/ 725 w 1076"/>
                    <a:gd name="T83" fmla="*/ 983 h 1078"/>
                    <a:gd name="T84" fmla="*/ 826 w 1076"/>
                    <a:gd name="T85" fmla="*/ 925 h 1078"/>
                    <a:gd name="T86" fmla="*/ 910 w 1076"/>
                    <a:gd name="T87" fmla="*/ 845 h 1078"/>
                    <a:gd name="T88" fmla="*/ 972 w 1076"/>
                    <a:gd name="T89" fmla="*/ 747 h 1078"/>
                    <a:gd name="T90" fmla="*/ 1010 w 1076"/>
                    <a:gd name="T91" fmla="*/ 635 h 1078"/>
                    <a:gd name="T92" fmla="*/ 1020 w 1076"/>
                    <a:gd name="T93" fmla="*/ 538 h 1078"/>
                    <a:gd name="T94" fmla="*/ 1005 w 1076"/>
                    <a:gd name="T95" fmla="*/ 418 h 1078"/>
                    <a:gd name="T96" fmla="*/ 961 w 1076"/>
                    <a:gd name="T97" fmla="*/ 309 h 1078"/>
                    <a:gd name="T98" fmla="*/ 895 w 1076"/>
                    <a:gd name="T99" fmla="*/ 215 h 1078"/>
                    <a:gd name="T100" fmla="*/ 807 w 1076"/>
                    <a:gd name="T101" fmla="*/ 139 h 1078"/>
                    <a:gd name="T102" fmla="*/ 704 w 1076"/>
                    <a:gd name="T103" fmla="*/ 86 h 1078"/>
                    <a:gd name="T104" fmla="*/ 586 w 1076"/>
                    <a:gd name="T105" fmla="*/ 60 h 10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76" h="1078">
                      <a:moveTo>
                        <a:pt x="538" y="1078"/>
                      </a:moveTo>
                      <a:lnTo>
                        <a:pt x="538" y="1078"/>
                      </a:lnTo>
                      <a:lnTo>
                        <a:pt x="510" y="1077"/>
                      </a:lnTo>
                      <a:lnTo>
                        <a:pt x="482" y="1075"/>
                      </a:lnTo>
                      <a:lnTo>
                        <a:pt x="456" y="1071"/>
                      </a:lnTo>
                      <a:lnTo>
                        <a:pt x="429" y="1067"/>
                      </a:lnTo>
                      <a:lnTo>
                        <a:pt x="404" y="1060"/>
                      </a:lnTo>
                      <a:lnTo>
                        <a:pt x="377" y="1053"/>
                      </a:lnTo>
                      <a:lnTo>
                        <a:pt x="353" y="1044"/>
                      </a:lnTo>
                      <a:lnTo>
                        <a:pt x="328" y="1035"/>
                      </a:lnTo>
                      <a:lnTo>
                        <a:pt x="305" y="1024"/>
                      </a:lnTo>
                      <a:lnTo>
                        <a:pt x="281" y="1012"/>
                      </a:lnTo>
                      <a:lnTo>
                        <a:pt x="258" y="999"/>
                      </a:lnTo>
                      <a:lnTo>
                        <a:pt x="237" y="985"/>
                      </a:lnTo>
                      <a:lnTo>
                        <a:pt x="216" y="971"/>
                      </a:lnTo>
                      <a:lnTo>
                        <a:pt x="196" y="954"/>
                      </a:lnTo>
                      <a:lnTo>
                        <a:pt x="175" y="937"/>
                      </a:lnTo>
                      <a:lnTo>
                        <a:pt x="157" y="919"/>
                      </a:lnTo>
                      <a:lnTo>
                        <a:pt x="139" y="901"/>
                      </a:lnTo>
                      <a:lnTo>
                        <a:pt x="122" y="881"/>
                      </a:lnTo>
                      <a:lnTo>
                        <a:pt x="107" y="860"/>
                      </a:lnTo>
                      <a:lnTo>
                        <a:pt x="92" y="839"/>
                      </a:lnTo>
                      <a:lnTo>
                        <a:pt x="77" y="818"/>
                      </a:lnTo>
                      <a:lnTo>
                        <a:pt x="64" y="795"/>
                      </a:lnTo>
                      <a:lnTo>
                        <a:pt x="52" y="772"/>
                      </a:lnTo>
                      <a:lnTo>
                        <a:pt x="42" y="748"/>
                      </a:lnTo>
                      <a:lnTo>
                        <a:pt x="32" y="724"/>
                      </a:lnTo>
                      <a:lnTo>
                        <a:pt x="24" y="699"/>
                      </a:lnTo>
                      <a:lnTo>
                        <a:pt x="16" y="674"/>
                      </a:lnTo>
                      <a:lnTo>
                        <a:pt x="10" y="647"/>
                      </a:lnTo>
                      <a:lnTo>
                        <a:pt x="6" y="621"/>
                      </a:lnTo>
                      <a:lnTo>
                        <a:pt x="2" y="594"/>
                      </a:lnTo>
                      <a:lnTo>
                        <a:pt x="0" y="567"/>
                      </a:lnTo>
                      <a:lnTo>
                        <a:pt x="0" y="538"/>
                      </a:lnTo>
                      <a:lnTo>
                        <a:pt x="0" y="538"/>
                      </a:lnTo>
                      <a:lnTo>
                        <a:pt x="0" y="511"/>
                      </a:lnTo>
                      <a:lnTo>
                        <a:pt x="2" y="484"/>
                      </a:lnTo>
                      <a:lnTo>
                        <a:pt x="6" y="456"/>
                      </a:lnTo>
                      <a:lnTo>
                        <a:pt x="10" y="430"/>
                      </a:lnTo>
                      <a:lnTo>
                        <a:pt x="16" y="404"/>
                      </a:lnTo>
                      <a:lnTo>
                        <a:pt x="24" y="379"/>
                      </a:lnTo>
                      <a:lnTo>
                        <a:pt x="32" y="353"/>
                      </a:lnTo>
                      <a:lnTo>
                        <a:pt x="42" y="329"/>
                      </a:lnTo>
                      <a:lnTo>
                        <a:pt x="52" y="306"/>
                      </a:lnTo>
                      <a:lnTo>
                        <a:pt x="64" y="283"/>
                      </a:lnTo>
                      <a:lnTo>
                        <a:pt x="77" y="260"/>
                      </a:lnTo>
                      <a:lnTo>
                        <a:pt x="92" y="238"/>
                      </a:lnTo>
                      <a:lnTo>
                        <a:pt x="107" y="217"/>
                      </a:lnTo>
                      <a:lnTo>
                        <a:pt x="122" y="197"/>
                      </a:lnTo>
                      <a:lnTo>
                        <a:pt x="139" y="177"/>
                      </a:lnTo>
                      <a:lnTo>
                        <a:pt x="157" y="159"/>
                      </a:lnTo>
                      <a:lnTo>
                        <a:pt x="175" y="140"/>
                      </a:lnTo>
                      <a:lnTo>
                        <a:pt x="196" y="123"/>
                      </a:lnTo>
                      <a:lnTo>
                        <a:pt x="216" y="107"/>
                      </a:lnTo>
                      <a:lnTo>
                        <a:pt x="237" y="93"/>
                      </a:lnTo>
                      <a:lnTo>
                        <a:pt x="258" y="79"/>
                      </a:lnTo>
                      <a:lnTo>
                        <a:pt x="281" y="66"/>
                      </a:lnTo>
                      <a:lnTo>
                        <a:pt x="305" y="53"/>
                      </a:lnTo>
                      <a:lnTo>
                        <a:pt x="328" y="42"/>
                      </a:lnTo>
                      <a:lnTo>
                        <a:pt x="353" y="33"/>
                      </a:lnTo>
                      <a:lnTo>
                        <a:pt x="377" y="24"/>
                      </a:lnTo>
                      <a:lnTo>
                        <a:pt x="404" y="17"/>
                      </a:lnTo>
                      <a:lnTo>
                        <a:pt x="429" y="11"/>
                      </a:lnTo>
                      <a:lnTo>
                        <a:pt x="456" y="6"/>
                      </a:lnTo>
                      <a:lnTo>
                        <a:pt x="482" y="3"/>
                      </a:lnTo>
                      <a:lnTo>
                        <a:pt x="510" y="1"/>
                      </a:lnTo>
                      <a:lnTo>
                        <a:pt x="538" y="0"/>
                      </a:lnTo>
                      <a:lnTo>
                        <a:pt x="538" y="0"/>
                      </a:lnTo>
                      <a:lnTo>
                        <a:pt x="565" y="1"/>
                      </a:lnTo>
                      <a:lnTo>
                        <a:pt x="593" y="3"/>
                      </a:lnTo>
                      <a:lnTo>
                        <a:pt x="620" y="6"/>
                      </a:lnTo>
                      <a:lnTo>
                        <a:pt x="646" y="11"/>
                      </a:lnTo>
                      <a:lnTo>
                        <a:pt x="672" y="17"/>
                      </a:lnTo>
                      <a:lnTo>
                        <a:pt x="698" y="24"/>
                      </a:lnTo>
                      <a:lnTo>
                        <a:pt x="723" y="33"/>
                      </a:lnTo>
                      <a:lnTo>
                        <a:pt x="747" y="42"/>
                      </a:lnTo>
                      <a:lnTo>
                        <a:pt x="771" y="53"/>
                      </a:lnTo>
                      <a:lnTo>
                        <a:pt x="795" y="66"/>
                      </a:lnTo>
                      <a:lnTo>
                        <a:pt x="817" y="79"/>
                      </a:lnTo>
                      <a:lnTo>
                        <a:pt x="839" y="93"/>
                      </a:lnTo>
                      <a:lnTo>
                        <a:pt x="860" y="107"/>
                      </a:lnTo>
                      <a:lnTo>
                        <a:pt x="880" y="123"/>
                      </a:lnTo>
                      <a:lnTo>
                        <a:pt x="900" y="140"/>
                      </a:lnTo>
                      <a:lnTo>
                        <a:pt x="919" y="159"/>
                      </a:lnTo>
                      <a:lnTo>
                        <a:pt x="936" y="177"/>
                      </a:lnTo>
                      <a:lnTo>
                        <a:pt x="953" y="197"/>
                      </a:lnTo>
                      <a:lnTo>
                        <a:pt x="969" y="217"/>
                      </a:lnTo>
                      <a:lnTo>
                        <a:pt x="984" y="238"/>
                      </a:lnTo>
                      <a:lnTo>
                        <a:pt x="999" y="260"/>
                      </a:lnTo>
                      <a:lnTo>
                        <a:pt x="1011" y="283"/>
                      </a:lnTo>
                      <a:lnTo>
                        <a:pt x="1023" y="306"/>
                      </a:lnTo>
                      <a:lnTo>
                        <a:pt x="1034" y="329"/>
                      </a:lnTo>
                      <a:lnTo>
                        <a:pt x="1043" y="353"/>
                      </a:lnTo>
                      <a:lnTo>
                        <a:pt x="1052" y="379"/>
                      </a:lnTo>
                      <a:lnTo>
                        <a:pt x="1059" y="404"/>
                      </a:lnTo>
                      <a:lnTo>
                        <a:pt x="1065" y="430"/>
                      </a:lnTo>
                      <a:lnTo>
                        <a:pt x="1070" y="456"/>
                      </a:lnTo>
                      <a:lnTo>
                        <a:pt x="1073" y="484"/>
                      </a:lnTo>
                      <a:lnTo>
                        <a:pt x="1075" y="511"/>
                      </a:lnTo>
                      <a:lnTo>
                        <a:pt x="1076" y="538"/>
                      </a:lnTo>
                      <a:lnTo>
                        <a:pt x="1076" y="538"/>
                      </a:lnTo>
                      <a:lnTo>
                        <a:pt x="1075" y="567"/>
                      </a:lnTo>
                      <a:lnTo>
                        <a:pt x="1073" y="594"/>
                      </a:lnTo>
                      <a:lnTo>
                        <a:pt x="1070" y="621"/>
                      </a:lnTo>
                      <a:lnTo>
                        <a:pt x="1065" y="647"/>
                      </a:lnTo>
                      <a:lnTo>
                        <a:pt x="1059" y="674"/>
                      </a:lnTo>
                      <a:lnTo>
                        <a:pt x="1052" y="699"/>
                      </a:lnTo>
                      <a:lnTo>
                        <a:pt x="1043" y="724"/>
                      </a:lnTo>
                      <a:lnTo>
                        <a:pt x="1034" y="748"/>
                      </a:lnTo>
                      <a:lnTo>
                        <a:pt x="1023" y="772"/>
                      </a:lnTo>
                      <a:lnTo>
                        <a:pt x="1011" y="795"/>
                      </a:lnTo>
                      <a:lnTo>
                        <a:pt x="999" y="818"/>
                      </a:lnTo>
                      <a:lnTo>
                        <a:pt x="984" y="839"/>
                      </a:lnTo>
                      <a:lnTo>
                        <a:pt x="969" y="860"/>
                      </a:lnTo>
                      <a:lnTo>
                        <a:pt x="953" y="881"/>
                      </a:lnTo>
                      <a:lnTo>
                        <a:pt x="936" y="901"/>
                      </a:lnTo>
                      <a:lnTo>
                        <a:pt x="919" y="919"/>
                      </a:lnTo>
                      <a:lnTo>
                        <a:pt x="900" y="937"/>
                      </a:lnTo>
                      <a:lnTo>
                        <a:pt x="880" y="954"/>
                      </a:lnTo>
                      <a:lnTo>
                        <a:pt x="860" y="971"/>
                      </a:lnTo>
                      <a:lnTo>
                        <a:pt x="839" y="985"/>
                      </a:lnTo>
                      <a:lnTo>
                        <a:pt x="817" y="999"/>
                      </a:lnTo>
                      <a:lnTo>
                        <a:pt x="795" y="1012"/>
                      </a:lnTo>
                      <a:lnTo>
                        <a:pt x="771" y="1024"/>
                      </a:lnTo>
                      <a:lnTo>
                        <a:pt x="747" y="1035"/>
                      </a:lnTo>
                      <a:lnTo>
                        <a:pt x="723" y="1044"/>
                      </a:lnTo>
                      <a:lnTo>
                        <a:pt x="698" y="1053"/>
                      </a:lnTo>
                      <a:lnTo>
                        <a:pt x="672" y="1060"/>
                      </a:lnTo>
                      <a:lnTo>
                        <a:pt x="646" y="1067"/>
                      </a:lnTo>
                      <a:lnTo>
                        <a:pt x="620" y="1071"/>
                      </a:lnTo>
                      <a:lnTo>
                        <a:pt x="593" y="1075"/>
                      </a:lnTo>
                      <a:lnTo>
                        <a:pt x="565" y="1077"/>
                      </a:lnTo>
                      <a:lnTo>
                        <a:pt x="538" y="1078"/>
                      </a:lnTo>
                      <a:lnTo>
                        <a:pt x="538" y="1078"/>
                      </a:lnTo>
                      <a:close/>
                      <a:moveTo>
                        <a:pt x="538" y="57"/>
                      </a:moveTo>
                      <a:lnTo>
                        <a:pt x="538" y="57"/>
                      </a:lnTo>
                      <a:lnTo>
                        <a:pt x="513" y="58"/>
                      </a:lnTo>
                      <a:lnTo>
                        <a:pt x="488" y="60"/>
                      </a:lnTo>
                      <a:lnTo>
                        <a:pt x="464" y="63"/>
                      </a:lnTo>
                      <a:lnTo>
                        <a:pt x="441" y="67"/>
                      </a:lnTo>
                      <a:lnTo>
                        <a:pt x="418" y="72"/>
                      </a:lnTo>
                      <a:lnTo>
                        <a:pt x="395" y="79"/>
                      </a:lnTo>
                      <a:lnTo>
                        <a:pt x="372" y="86"/>
                      </a:lnTo>
                      <a:lnTo>
                        <a:pt x="350" y="95"/>
                      </a:lnTo>
                      <a:lnTo>
                        <a:pt x="329" y="105"/>
                      </a:lnTo>
                      <a:lnTo>
                        <a:pt x="309" y="115"/>
                      </a:lnTo>
                      <a:lnTo>
                        <a:pt x="288" y="127"/>
                      </a:lnTo>
                      <a:lnTo>
                        <a:pt x="268" y="139"/>
                      </a:lnTo>
                      <a:lnTo>
                        <a:pt x="250" y="152"/>
                      </a:lnTo>
                      <a:lnTo>
                        <a:pt x="231" y="168"/>
                      </a:lnTo>
                      <a:lnTo>
                        <a:pt x="214" y="183"/>
                      </a:lnTo>
                      <a:lnTo>
                        <a:pt x="198" y="198"/>
                      </a:lnTo>
                      <a:lnTo>
                        <a:pt x="181" y="215"/>
                      </a:lnTo>
                      <a:lnTo>
                        <a:pt x="166" y="232"/>
                      </a:lnTo>
                      <a:lnTo>
                        <a:pt x="152" y="250"/>
                      </a:lnTo>
                      <a:lnTo>
                        <a:pt x="138" y="270"/>
                      </a:lnTo>
                      <a:lnTo>
                        <a:pt x="126" y="289"/>
                      </a:lnTo>
                      <a:lnTo>
                        <a:pt x="114" y="309"/>
                      </a:lnTo>
                      <a:lnTo>
                        <a:pt x="104" y="330"/>
                      </a:lnTo>
                      <a:lnTo>
                        <a:pt x="94" y="351"/>
                      </a:lnTo>
                      <a:lnTo>
                        <a:pt x="85" y="374"/>
                      </a:lnTo>
                      <a:lnTo>
                        <a:pt x="77" y="396"/>
                      </a:lnTo>
                      <a:lnTo>
                        <a:pt x="71" y="418"/>
                      </a:lnTo>
                      <a:lnTo>
                        <a:pt x="65" y="441"/>
                      </a:lnTo>
                      <a:lnTo>
                        <a:pt x="61" y="466"/>
                      </a:lnTo>
                      <a:lnTo>
                        <a:pt x="58" y="490"/>
                      </a:lnTo>
                      <a:lnTo>
                        <a:pt x="56" y="514"/>
                      </a:lnTo>
                      <a:lnTo>
                        <a:pt x="56" y="538"/>
                      </a:lnTo>
                      <a:lnTo>
                        <a:pt x="56" y="538"/>
                      </a:lnTo>
                      <a:lnTo>
                        <a:pt x="56" y="564"/>
                      </a:lnTo>
                      <a:lnTo>
                        <a:pt x="58" y="588"/>
                      </a:lnTo>
                      <a:lnTo>
                        <a:pt x="61" y="612"/>
                      </a:lnTo>
                      <a:lnTo>
                        <a:pt x="65" y="635"/>
                      </a:lnTo>
                      <a:lnTo>
                        <a:pt x="71" y="659"/>
                      </a:lnTo>
                      <a:lnTo>
                        <a:pt x="77" y="682"/>
                      </a:lnTo>
                      <a:lnTo>
                        <a:pt x="85" y="704"/>
                      </a:lnTo>
                      <a:lnTo>
                        <a:pt x="94" y="726"/>
                      </a:lnTo>
                      <a:lnTo>
                        <a:pt x="104" y="747"/>
                      </a:lnTo>
                      <a:lnTo>
                        <a:pt x="114" y="769"/>
                      </a:lnTo>
                      <a:lnTo>
                        <a:pt x="126" y="789"/>
                      </a:lnTo>
                      <a:lnTo>
                        <a:pt x="138" y="808"/>
                      </a:lnTo>
                      <a:lnTo>
                        <a:pt x="152" y="827"/>
                      </a:lnTo>
                      <a:lnTo>
                        <a:pt x="166" y="845"/>
                      </a:lnTo>
                      <a:lnTo>
                        <a:pt x="181" y="862"/>
                      </a:lnTo>
                      <a:lnTo>
                        <a:pt x="198" y="880"/>
                      </a:lnTo>
                      <a:lnTo>
                        <a:pt x="214" y="895"/>
                      </a:lnTo>
                      <a:lnTo>
                        <a:pt x="231" y="910"/>
                      </a:lnTo>
                      <a:lnTo>
                        <a:pt x="250" y="925"/>
                      </a:lnTo>
                      <a:lnTo>
                        <a:pt x="268" y="938"/>
                      </a:lnTo>
                      <a:lnTo>
                        <a:pt x="288" y="950"/>
                      </a:lnTo>
                      <a:lnTo>
                        <a:pt x="309" y="962"/>
                      </a:lnTo>
                      <a:lnTo>
                        <a:pt x="329" y="973"/>
                      </a:lnTo>
                      <a:lnTo>
                        <a:pt x="350" y="983"/>
                      </a:lnTo>
                      <a:lnTo>
                        <a:pt x="372" y="992"/>
                      </a:lnTo>
                      <a:lnTo>
                        <a:pt x="395" y="999"/>
                      </a:lnTo>
                      <a:lnTo>
                        <a:pt x="418" y="1005"/>
                      </a:lnTo>
                      <a:lnTo>
                        <a:pt x="441" y="1011"/>
                      </a:lnTo>
                      <a:lnTo>
                        <a:pt x="464" y="1015"/>
                      </a:lnTo>
                      <a:lnTo>
                        <a:pt x="488" y="1018"/>
                      </a:lnTo>
                      <a:lnTo>
                        <a:pt x="513" y="1020"/>
                      </a:lnTo>
                      <a:lnTo>
                        <a:pt x="538" y="1021"/>
                      </a:lnTo>
                      <a:lnTo>
                        <a:pt x="538" y="1021"/>
                      </a:lnTo>
                      <a:lnTo>
                        <a:pt x="562" y="1020"/>
                      </a:lnTo>
                      <a:lnTo>
                        <a:pt x="586" y="1018"/>
                      </a:lnTo>
                      <a:lnTo>
                        <a:pt x="611" y="1015"/>
                      </a:lnTo>
                      <a:lnTo>
                        <a:pt x="635" y="1011"/>
                      </a:lnTo>
                      <a:lnTo>
                        <a:pt x="658" y="1005"/>
                      </a:lnTo>
                      <a:lnTo>
                        <a:pt x="680" y="999"/>
                      </a:lnTo>
                      <a:lnTo>
                        <a:pt x="704" y="992"/>
                      </a:lnTo>
                      <a:lnTo>
                        <a:pt x="725" y="983"/>
                      </a:lnTo>
                      <a:lnTo>
                        <a:pt x="746" y="973"/>
                      </a:lnTo>
                      <a:lnTo>
                        <a:pt x="767" y="962"/>
                      </a:lnTo>
                      <a:lnTo>
                        <a:pt x="787" y="950"/>
                      </a:lnTo>
                      <a:lnTo>
                        <a:pt x="807" y="938"/>
                      </a:lnTo>
                      <a:lnTo>
                        <a:pt x="826" y="925"/>
                      </a:lnTo>
                      <a:lnTo>
                        <a:pt x="844" y="910"/>
                      </a:lnTo>
                      <a:lnTo>
                        <a:pt x="861" y="895"/>
                      </a:lnTo>
                      <a:lnTo>
                        <a:pt x="878" y="880"/>
                      </a:lnTo>
                      <a:lnTo>
                        <a:pt x="895" y="862"/>
                      </a:lnTo>
                      <a:lnTo>
                        <a:pt x="910" y="845"/>
                      </a:lnTo>
                      <a:lnTo>
                        <a:pt x="924" y="827"/>
                      </a:lnTo>
                      <a:lnTo>
                        <a:pt x="937" y="808"/>
                      </a:lnTo>
                      <a:lnTo>
                        <a:pt x="950" y="789"/>
                      </a:lnTo>
                      <a:lnTo>
                        <a:pt x="961" y="769"/>
                      </a:lnTo>
                      <a:lnTo>
                        <a:pt x="972" y="747"/>
                      </a:lnTo>
                      <a:lnTo>
                        <a:pt x="981" y="726"/>
                      </a:lnTo>
                      <a:lnTo>
                        <a:pt x="990" y="704"/>
                      </a:lnTo>
                      <a:lnTo>
                        <a:pt x="998" y="682"/>
                      </a:lnTo>
                      <a:lnTo>
                        <a:pt x="1005" y="659"/>
                      </a:lnTo>
                      <a:lnTo>
                        <a:pt x="1010" y="635"/>
                      </a:lnTo>
                      <a:lnTo>
                        <a:pt x="1014" y="612"/>
                      </a:lnTo>
                      <a:lnTo>
                        <a:pt x="1017" y="588"/>
                      </a:lnTo>
                      <a:lnTo>
                        <a:pt x="1019" y="564"/>
                      </a:lnTo>
                      <a:lnTo>
                        <a:pt x="1020" y="538"/>
                      </a:lnTo>
                      <a:lnTo>
                        <a:pt x="1020" y="538"/>
                      </a:lnTo>
                      <a:lnTo>
                        <a:pt x="1019" y="514"/>
                      </a:lnTo>
                      <a:lnTo>
                        <a:pt x="1017" y="490"/>
                      </a:lnTo>
                      <a:lnTo>
                        <a:pt x="1014" y="466"/>
                      </a:lnTo>
                      <a:lnTo>
                        <a:pt x="1010" y="441"/>
                      </a:lnTo>
                      <a:lnTo>
                        <a:pt x="1005" y="418"/>
                      </a:lnTo>
                      <a:lnTo>
                        <a:pt x="998" y="396"/>
                      </a:lnTo>
                      <a:lnTo>
                        <a:pt x="990" y="374"/>
                      </a:lnTo>
                      <a:lnTo>
                        <a:pt x="981" y="351"/>
                      </a:lnTo>
                      <a:lnTo>
                        <a:pt x="972" y="330"/>
                      </a:lnTo>
                      <a:lnTo>
                        <a:pt x="961" y="309"/>
                      </a:lnTo>
                      <a:lnTo>
                        <a:pt x="950" y="289"/>
                      </a:lnTo>
                      <a:lnTo>
                        <a:pt x="937" y="270"/>
                      </a:lnTo>
                      <a:lnTo>
                        <a:pt x="924" y="250"/>
                      </a:lnTo>
                      <a:lnTo>
                        <a:pt x="910" y="232"/>
                      </a:lnTo>
                      <a:lnTo>
                        <a:pt x="895" y="215"/>
                      </a:lnTo>
                      <a:lnTo>
                        <a:pt x="878" y="198"/>
                      </a:lnTo>
                      <a:lnTo>
                        <a:pt x="861" y="183"/>
                      </a:lnTo>
                      <a:lnTo>
                        <a:pt x="844" y="168"/>
                      </a:lnTo>
                      <a:lnTo>
                        <a:pt x="826" y="152"/>
                      </a:lnTo>
                      <a:lnTo>
                        <a:pt x="807" y="139"/>
                      </a:lnTo>
                      <a:lnTo>
                        <a:pt x="787" y="127"/>
                      </a:lnTo>
                      <a:lnTo>
                        <a:pt x="767" y="115"/>
                      </a:lnTo>
                      <a:lnTo>
                        <a:pt x="746" y="105"/>
                      </a:lnTo>
                      <a:lnTo>
                        <a:pt x="725" y="95"/>
                      </a:lnTo>
                      <a:lnTo>
                        <a:pt x="704" y="86"/>
                      </a:lnTo>
                      <a:lnTo>
                        <a:pt x="680" y="79"/>
                      </a:lnTo>
                      <a:lnTo>
                        <a:pt x="658" y="72"/>
                      </a:lnTo>
                      <a:lnTo>
                        <a:pt x="635" y="67"/>
                      </a:lnTo>
                      <a:lnTo>
                        <a:pt x="611" y="63"/>
                      </a:lnTo>
                      <a:lnTo>
                        <a:pt x="586" y="60"/>
                      </a:lnTo>
                      <a:lnTo>
                        <a:pt x="562" y="58"/>
                      </a:lnTo>
                      <a:lnTo>
                        <a:pt x="538" y="57"/>
                      </a:lnTo>
                      <a:lnTo>
                        <a:pt x="538" y="5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Freeform 94">
                  <a:extLst>
                    <a:ext uri="{FF2B5EF4-FFF2-40B4-BE49-F238E27FC236}">
                      <a16:creationId xmlns:a16="http://schemas.microsoft.com/office/drawing/2014/main" id="{4EE35453-66AD-6DB3-4C71-9E98C7ED98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86238" y="796925"/>
                  <a:ext cx="149225" cy="142875"/>
                </a:xfrm>
                <a:custGeom>
                  <a:avLst/>
                  <a:gdLst>
                    <a:gd name="T0" fmla="*/ 446 w 567"/>
                    <a:gd name="T1" fmla="*/ 537 h 538"/>
                    <a:gd name="T2" fmla="*/ 128 w 567"/>
                    <a:gd name="T3" fmla="*/ 534 h 538"/>
                    <a:gd name="T4" fmla="*/ 120 w 567"/>
                    <a:gd name="T5" fmla="*/ 537 h 538"/>
                    <a:gd name="T6" fmla="*/ 108 w 567"/>
                    <a:gd name="T7" fmla="*/ 538 h 538"/>
                    <a:gd name="T8" fmla="*/ 96 w 567"/>
                    <a:gd name="T9" fmla="*/ 532 h 538"/>
                    <a:gd name="T10" fmla="*/ 91 w 567"/>
                    <a:gd name="T11" fmla="*/ 526 h 538"/>
                    <a:gd name="T12" fmla="*/ 86 w 567"/>
                    <a:gd name="T13" fmla="*/ 515 h 538"/>
                    <a:gd name="T14" fmla="*/ 86 w 567"/>
                    <a:gd name="T15" fmla="*/ 501 h 538"/>
                    <a:gd name="T16" fmla="*/ 11 w 567"/>
                    <a:gd name="T17" fmla="*/ 220 h 538"/>
                    <a:gd name="T18" fmla="*/ 3 w 567"/>
                    <a:gd name="T19" fmla="*/ 210 h 538"/>
                    <a:gd name="T20" fmla="*/ 0 w 567"/>
                    <a:gd name="T21" fmla="*/ 197 h 538"/>
                    <a:gd name="T22" fmla="*/ 2 w 567"/>
                    <a:gd name="T23" fmla="*/ 188 h 538"/>
                    <a:gd name="T24" fmla="*/ 9 w 567"/>
                    <a:gd name="T25" fmla="*/ 177 h 538"/>
                    <a:gd name="T26" fmla="*/ 20 w 567"/>
                    <a:gd name="T27" fmla="*/ 171 h 538"/>
                    <a:gd name="T28" fmla="*/ 181 w 567"/>
                    <a:gd name="T29" fmla="*/ 169 h 538"/>
                    <a:gd name="T30" fmla="*/ 261 w 567"/>
                    <a:gd name="T31" fmla="*/ 12 h 538"/>
                    <a:gd name="T32" fmla="*/ 276 w 567"/>
                    <a:gd name="T33" fmla="*/ 1 h 538"/>
                    <a:gd name="T34" fmla="*/ 298 w 567"/>
                    <a:gd name="T35" fmla="*/ 5 h 538"/>
                    <a:gd name="T36" fmla="*/ 309 w 567"/>
                    <a:gd name="T37" fmla="*/ 15 h 538"/>
                    <a:gd name="T38" fmla="*/ 539 w 567"/>
                    <a:gd name="T39" fmla="*/ 169 h 538"/>
                    <a:gd name="T40" fmla="*/ 552 w 567"/>
                    <a:gd name="T41" fmla="*/ 172 h 538"/>
                    <a:gd name="T42" fmla="*/ 562 w 567"/>
                    <a:gd name="T43" fmla="*/ 180 h 538"/>
                    <a:gd name="T44" fmla="*/ 566 w 567"/>
                    <a:gd name="T45" fmla="*/ 188 h 538"/>
                    <a:gd name="T46" fmla="*/ 567 w 567"/>
                    <a:gd name="T47" fmla="*/ 201 h 538"/>
                    <a:gd name="T48" fmla="*/ 563 w 567"/>
                    <a:gd name="T49" fmla="*/ 214 h 538"/>
                    <a:gd name="T50" fmla="*/ 429 w 567"/>
                    <a:gd name="T51" fmla="*/ 322 h 538"/>
                    <a:gd name="T52" fmla="*/ 482 w 567"/>
                    <a:gd name="T53" fmla="*/ 505 h 538"/>
                    <a:gd name="T54" fmla="*/ 481 w 567"/>
                    <a:gd name="T55" fmla="*/ 519 h 538"/>
                    <a:gd name="T56" fmla="*/ 474 w 567"/>
                    <a:gd name="T57" fmla="*/ 530 h 538"/>
                    <a:gd name="T58" fmla="*/ 467 w 567"/>
                    <a:gd name="T59" fmla="*/ 535 h 538"/>
                    <a:gd name="T60" fmla="*/ 454 w 567"/>
                    <a:gd name="T61" fmla="*/ 538 h 538"/>
                    <a:gd name="T62" fmla="*/ 284 w 567"/>
                    <a:gd name="T63" fmla="*/ 375 h 538"/>
                    <a:gd name="T64" fmla="*/ 406 w 567"/>
                    <a:gd name="T65" fmla="*/ 446 h 538"/>
                    <a:gd name="T66" fmla="*/ 369 w 567"/>
                    <a:gd name="T67" fmla="*/ 315 h 538"/>
                    <a:gd name="T68" fmla="*/ 374 w 567"/>
                    <a:gd name="T69" fmla="*/ 295 h 538"/>
                    <a:gd name="T70" fmla="*/ 458 w 567"/>
                    <a:gd name="T71" fmla="*/ 226 h 538"/>
                    <a:gd name="T72" fmla="*/ 361 w 567"/>
                    <a:gd name="T73" fmla="*/ 225 h 538"/>
                    <a:gd name="T74" fmla="*/ 344 w 567"/>
                    <a:gd name="T75" fmla="*/ 211 h 538"/>
                    <a:gd name="T76" fmla="*/ 224 w 567"/>
                    <a:gd name="T77" fmla="*/ 211 h 538"/>
                    <a:gd name="T78" fmla="*/ 206 w 567"/>
                    <a:gd name="T79" fmla="*/ 225 h 538"/>
                    <a:gd name="T80" fmla="*/ 188 w 567"/>
                    <a:gd name="T81" fmla="*/ 289 h 538"/>
                    <a:gd name="T82" fmla="*/ 194 w 567"/>
                    <a:gd name="T83" fmla="*/ 295 h 538"/>
                    <a:gd name="T84" fmla="*/ 198 w 567"/>
                    <a:gd name="T85" fmla="*/ 315 h 538"/>
                    <a:gd name="T86" fmla="*/ 269 w 567"/>
                    <a:gd name="T87" fmla="*/ 379 h 538"/>
                    <a:gd name="T88" fmla="*/ 284 w 567"/>
                    <a:gd name="T89" fmla="*/ 375 h 5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567" h="538">
                      <a:moveTo>
                        <a:pt x="454" y="538"/>
                      </a:moveTo>
                      <a:lnTo>
                        <a:pt x="454" y="538"/>
                      </a:lnTo>
                      <a:lnTo>
                        <a:pt x="446" y="537"/>
                      </a:lnTo>
                      <a:lnTo>
                        <a:pt x="439" y="534"/>
                      </a:lnTo>
                      <a:lnTo>
                        <a:pt x="284" y="437"/>
                      </a:lnTo>
                      <a:lnTo>
                        <a:pt x="128" y="534"/>
                      </a:lnTo>
                      <a:lnTo>
                        <a:pt x="128" y="534"/>
                      </a:lnTo>
                      <a:lnTo>
                        <a:pt x="124" y="536"/>
                      </a:lnTo>
                      <a:lnTo>
                        <a:pt x="120" y="537"/>
                      </a:lnTo>
                      <a:lnTo>
                        <a:pt x="116" y="538"/>
                      </a:lnTo>
                      <a:lnTo>
                        <a:pt x="112" y="538"/>
                      </a:lnTo>
                      <a:lnTo>
                        <a:pt x="108" y="538"/>
                      </a:lnTo>
                      <a:lnTo>
                        <a:pt x="104" y="536"/>
                      </a:lnTo>
                      <a:lnTo>
                        <a:pt x="100" y="535"/>
                      </a:lnTo>
                      <a:lnTo>
                        <a:pt x="96" y="532"/>
                      </a:lnTo>
                      <a:lnTo>
                        <a:pt x="96" y="532"/>
                      </a:lnTo>
                      <a:lnTo>
                        <a:pt x="93" y="530"/>
                      </a:lnTo>
                      <a:lnTo>
                        <a:pt x="91" y="526"/>
                      </a:lnTo>
                      <a:lnTo>
                        <a:pt x="88" y="523"/>
                      </a:lnTo>
                      <a:lnTo>
                        <a:pt x="87" y="519"/>
                      </a:lnTo>
                      <a:lnTo>
                        <a:pt x="86" y="515"/>
                      </a:lnTo>
                      <a:lnTo>
                        <a:pt x="85" y="511"/>
                      </a:lnTo>
                      <a:lnTo>
                        <a:pt x="86" y="505"/>
                      </a:lnTo>
                      <a:lnTo>
                        <a:pt x="86" y="501"/>
                      </a:lnTo>
                      <a:lnTo>
                        <a:pt x="138" y="322"/>
                      </a:lnTo>
                      <a:lnTo>
                        <a:pt x="11" y="220"/>
                      </a:lnTo>
                      <a:lnTo>
                        <a:pt x="11" y="220"/>
                      </a:lnTo>
                      <a:lnTo>
                        <a:pt x="7" y="217"/>
                      </a:lnTo>
                      <a:lnTo>
                        <a:pt x="5" y="214"/>
                      </a:lnTo>
                      <a:lnTo>
                        <a:pt x="3" y="210"/>
                      </a:lnTo>
                      <a:lnTo>
                        <a:pt x="1" y="206"/>
                      </a:lnTo>
                      <a:lnTo>
                        <a:pt x="0" y="201"/>
                      </a:lnTo>
                      <a:lnTo>
                        <a:pt x="0" y="197"/>
                      </a:lnTo>
                      <a:lnTo>
                        <a:pt x="1" y="192"/>
                      </a:lnTo>
                      <a:lnTo>
                        <a:pt x="2" y="188"/>
                      </a:lnTo>
                      <a:lnTo>
                        <a:pt x="2" y="188"/>
                      </a:lnTo>
                      <a:lnTo>
                        <a:pt x="3" y="184"/>
                      </a:lnTo>
                      <a:lnTo>
                        <a:pt x="6" y="180"/>
                      </a:lnTo>
                      <a:lnTo>
                        <a:pt x="9" y="177"/>
                      </a:lnTo>
                      <a:lnTo>
                        <a:pt x="12" y="174"/>
                      </a:lnTo>
                      <a:lnTo>
                        <a:pt x="16" y="172"/>
                      </a:lnTo>
                      <a:lnTo>
                        <a:pt x="20" y="171"/>
                      </a:lnTo>
                      <a:lnTo>
                        <a:pt x="24" y="170"/>
                      </a:lnTo>
                      <a:lnTo>
                        <a:pt x="28" y="169"/>
                      </a:lnTo>
                      <a:lnTo>
                        <a:pt x="181" y="169"/>
                      </a:lnTo>
                      <a:lnTo>
                        <a:pt x="259" y="15"/>
                      </a:lnTo>
                      <a:lnTo>
                        <a:pt x="259" y="15"/>
                      </a:lnTo>
                      <a:lnTo>
                        <a:pt x="261" y="12"/>
                      </a:lnTo>
                      <a:lnTo>
                        <a:pt x="263" y="9"/>
                      </a:lnTo>
                      <a:lnTo>
                        <a:pt x="269" y="5"/>
                      </a:lnTo>
                      <a:lnTo>
                        <a:pt x="276" y="1"/>
                      </a:lnTo>
                      <a:lnTo>
                        <a:pt x="284" y="0"/>
                      </a:lnTo>
                      <a:lnTo>
                        <a:pt x="291" y="1"/>
                      </a:lnTo>
                      <a:lnTo>
                        <a:pt x="298" y="5"/>
                      </a:lnTo>
                      <a:lnTo>
                        <a:pt x="304" y="9"/>
                      </a:lnTo>
                      <a:lnTo>
                        <a:pt x="307" y="12"/>
                      </a:lnTo>
                      <a:lnTo>
                        <a:pt x="309" y="15"/>
                      </a:lnTo>
                      <a:lnTo>
                        <a:pt x="386" y="169"/>
                      </a:lnTo>
                      <a:lnTo>
                        <a:pt x="539" y="169"/>
                      </a:lnTo>
                      <a:lnTo>
                        <a:pt x="539" y="169"/>
                      </a:lnTo>
                      <a:lnTo>
                        <a:pt x="544" y="170"/>
                      </a:lnTo>
                      <a:lnTo>
                        <a:pt x="548" y="171"/>
                      </a:lnTo>
                      <a:lnTo>
                        <a:pt x="552" y="172"/>
                      </a:lnTo>
                      <a:lnTo>
                        <a:pt x="555" y="174"/>
                      </a:lnTo>
                      <a:lnTo>
                        <a:pt x="559" y="177"/>
                      </a:lnTo>
                      <a:lnTo>
                        <a:pt x="562" y="180"/>
                      </a:lnTo>
                      <a:lnTo>
                        <a:pt x="564" y="184"/>
                      </a:lnTo>
                      <a:lnTo>
                        <a:pt x="566" y="188"/>
                      </a:lnTo>
                      <a:lnTo>
                        <a:pt x="566" y="188"/>
                      </a:lnTo>
                      <a:lnTo>
                        <a:pt x="567" y="192"/>
                      </a:lnTo>
                      <a:lnTo>
                        <a:pt x="567" y="197"/>
                      </a:lnTo>
                      <a:lnTo>
                        <a:pt x="567" y="201"/>
                      </a:lnTo>
                      <a:lnTo>
                        <a:pt x="566" y="206"/>
                      </a:lnTo>
                      <a:lnTo>
                        <a:pt x="565" y="210"/>
                      </a:lnTo>
                      <a:lnTo>
                        <a:pt x="563" y="214"/>
                      </a:lnTo>
                      <a:lnTo>
                        <a:pt x="560" y="217"/>
                      </a:lnTo>
                      <a:lnTo>
                        <a:pt x="557" y="220"/>
                      </a:lnTo>
                      <a:lnTo>
                        <a:pt x="429" y="322"/>
                      </a:lnTo>
                      <a:lnTo>
                        <a:pt x="481" y="501"/>
                      </a:lnTo>
                      <a:lnTo>
                        <a:pt x="481" y="501"/>
                      </a:lnTo>
                      <a:lnTo>
                        <a:pt x="482" y="505"/>
                      </a:lnTo>
                      <a:lnTo>
                        <a:pt x="482" y="511"/>
                      </a:lnTo>
                      <a:lnTo>
                        <a:pt x="482" y="515"/>
                      </a:lnTo>
                      <a:lnTo>
                        <a:pt x="481" y="519"/>
                      </a:lnTo>
                      <a:lnTo>
                        <a:pt x="479" y="523"/>
                      </a:lnTo>
                      <a:lnTo>
                        <a:pt x="477" y="526"/>
                      </a:lnTo>
                      <a:lnTo>
                        <a:pt x="474" y="530"/>
                      </a:lnTo>
                      <a:lnTo>
                        <a:pt x="471" y="532"/>
                      </a:lnTo>
                      <a:lnTo>
                        <a:pt x="471" y="532"/>
                      </a:lnTo>
                      <a:lnTo>
                        <a:pt x="467" y="535"/>
                      </a:lnTo>
                      <a:lnTo>
                        <a:pt x="463" y="537"/>
                      </a:lnTo>
                      <a:lnTo>
                        <a:pt x="459" y="538"/>
                      </a:lnTo>
                      <a:lnTo>
                        <a:pt x="454" y="538"/>
                      </a:lnTo>
                      <a:lnTo>
                        <a:pt x="454" y="538"/>
                      </a:lnTo>
                      <a:close/>
                      <a:moveTo>
                        <a:pt x="284" y="375"/>
                      </a:moveTo>
                      <a:lnTo>
                        <a:pt x="284" y="375"/>
                      </a:lnTo>
                      <a:lnTo>
                        <a:pt x="291" y="376"/>
                      </a:lnTo>
                      <a:lnTo>
                        <a:pt x="299" y="379"/>
                      </a:lnTo>
                      <a:lnTo>
                        <a:pt x="406" y="446"/>
                      </a:lnTo>
                      <a:lnTo>
                        <a:pt x="370" y="319"/>
                      </a:lnTo>
                      <a:lnTo>
                        <a:pt x="370" y="319"/>
                      </a:lnTo>
                      <a:lnTo>
                        <a:pt x="369" y="315"/>
                      </a:lnTo>
                      <a:lnTo>
                        <a:pt x="369" y="311"/>
                      </a:lnTo>
                      <a:lnTo>
                        <a:pt x="370" y="302"/>
                      </a:lnTo>
                      <a:lnTo>
                        <a:pt x="374" y="295"/>
                      </a:lnTo>
                      <a:lnTo>
                        <a:pt x="376" y="291"/>
                      </a:lnTo>
                      <a:lnTo>
                        <a:pt x="379" y="289"/>
                      </a:lnTo>
                      <a:lnTo>
                        <a:pt x="458" y="226"/>
                      </a:lnTo>
                      <a:lnTo>
                        <a:pt x="369" y="226"/>
                      </a:lnTo>
                      <a:lnTo>
                        <a:pt x="369" y="226"/>
                      </a:lnTo>
                      <a:lnTo>
                        <a:pt x="361" y="225"/>
                      </a:lnTo>
                      <a:lnTo>
                        <a:pt x="354" y="222"/>
                      </a:lnTo>
                      <a:lnTo>
                        <a:pt x="348" y="217"/>
                      </a:lnTo>
                      <a:lnTo>
                        <a:pt x="344" y="211"/>
                      </a:lnTo>
                      <a:lnTo>
                        <a:pt x="284" y="91"/>
                      </a:lnTo>
                      <a:lnTo>
                        <a:pt x="224" y="211"/>
                      </a:lnTo>
                      <a:lnTo>
                        <a:pt x="224" y="211"/>
                      </a:lnTo>
                      <a:lnTo>
                        <a:pt x="219" y="217"/>
                      </a:lnTo>
                      <a:lnTo>
                        <a:pt x="213" y="222"/>
                      </a:lnTo>
                      <a:lnTo>
                        <a:pt x="206" y="225"/>
                      </a:lnTo>
                      <a:lnTo>
                        <a:pt x="199" y="226"/>
                      </a:lnTo>
                      <a:lnTo>
                        <a:pt x="109" y="226"/>
                      </a:lnTo>
                      <a:lnTo>
                        <a:pt x="188" y="289"/>
                      </a:lnTo>
                      <a:lnTo>
                        <a:pt x="188" y="289"/>
                      </a:lnTo>
                      <a:lnTo>
                        <a:pt x="191" y="291"/>
                      </a:lnTo>
                      <a:lnTo>
                        <a:pt x="194" y="295"/>
                      </a:lnTo>
                      <a:lnTo>
                        <a:pt x="197" y="302"/>
                      </a:lnTo>
                      <a:lnTo>
                        <a:pt x="199" y="311"/>
                      </a:lnTo>
                      <a:lnTo>
                        <a:pt x="198" y="315"/>
                      </a:lnTo>
                      <a:lnTo>
                        <a:pt x="197" y="319"/>
                      </a:lnTo>
                      <a:lnTo>
                        <a:pt x="161" y="446"/>
                      </a:lnTo>
                      <a:lnTo>
                        <a:pt x="269" y="379"/>
                      </a:lnTo>
                      <a:lnTo>
                        <a:pt x="269" y="379"/>
                      </a:lnTo>
                      <a:lnTo>
                        <a:pt x="276" y="376"/>
                      </a:lnTo>
                      <a:lnTo>
                        <a:pt x="284" y="375"/>
                      </a:lnTo>
                      <a:lnTo>
                        <a:pt x="284" y="3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10CE5F97-1919-5DBA-438A-2005D787801C}"/>
                  </a:ext>
                </a:extLst>
              </p:cNvPr>
              <p:cNvSpPr txBox="1"/>
              <p:nvPr/>
            </p:nvSpPr>
            <p:spPr>
              <a:xfrm>
                <a:off x="12000611" y="7058209"/>
                <a:ext cx="5148937" cy="2137148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 marL="0" marR="0" lvl="0" indent="0" algn="ctr" defTabSz="914400" rtl="1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Verifying the validity and alignment of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he qualifications and experience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of the expatriate worker with the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ofessional requirements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of the Saudi labor market.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
</a:t>
                </a:r>
                <a:endPara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13425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2" name="Graphic 81" descr="Programmer male outline">
                <a:extLst>
                  <a:ext uri="{FF2B5EF4-FFF2-40B4-BE49-F238E27FC236}">
                    <a16:creationId xmlns:a16="http://schemas.microsoft.com/office/drawing/2014/main" id="{078C23C7-E640-31EF-FBE7-6FB8469492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2251347" y="9546863"/>
                <a:ext cx="914400" cy="914399"/>
              </a:xfrm>
              <a:prstGeom prst="rect">
                <a:avLst/>
              </a:prstGeom>
            </p:spPr>
          </p:pic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5F3D8E08-FEC2-9A37-E20F-9261EC9B61F8}"/>
                  </a:ext>
                </a:extLst>
              </p:cNvPr>
              <p:cNvSpPr txBox="1"/>
              <p:nvPr/>
            </p:nvSpPr>
            <p:spPr>
              <a:xfrm>
                <a:off x="12886883" y="9689169"/>
                <a:ext cx="4335261" cy="62978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685800" rtl="1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xample</a:t>
                </a: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:  Software developer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6918398-8D2A-316B-8AB8-0CAC1159563D}"/>
                </a:ext>
              </a:extLst>
            </p:cNvPr>
            <p:cNvSpPr txBox="1"/>
            <p:nvPr/>
          </p:nvSpPr>
          <p:spPr>
            <a:xfrm>
              <a:off x="1205712" y="2061395"/>
              <a:ext cx="2235911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58284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Qualification verificatio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58284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rogram</a:t>
              </a: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0687B1C-503A-BB1F-020B-9D4F287B062C}"/>
              </a:ext>
            </a:extLst>
          </p:cNvPr>
          <p:cNvSpPr txBox="1"/>
          <p:nvPr/>
        </p:nvSpPr>
        <p:spPr>
          <a:xfrm>
            <a:off x="5610507" y="2097023"/>
            <a:ext cx="815929" cy="169277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oup Code</a:t>
            </a:r>
            <a:endParaRPr kumimoji="0" lang="ar-SA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482023D-7942-4D03-629A-738EBDE5A1CC}"/>
              </a:ext>
            </a:extLst>
          </p:cNvPr>
          <p:cNvGrpSpPr/>
          <p:nvPr/>
        </p:nvGrpSpPr>
        <p:grpSpPr>
          <a:xfrm>
            <a:off x="6005008" y="2336876"/>
            <a:ext cx="3475392" cy="2725099"/>
            <a:chOff x="4058663" y="1873796"/>
            <a:chExt cx="2757957" cy="2252147"/>
          </a:xfrm>
        </p:grpSpPr>
        <p:sp>
          <p:nvSpPr>
            <p:cNvPr id="19" name="Google Shape;340;p25">
              <a:extLst>
                <a:ext uri="{FF2B5EF4-FFF2-40B4-BE49-F238E27FC236}">
                  <a16:creationId xmlns:a16="http://schemas.microsoft.com/office/drawing/2014/main" id="{49A13D84-EA4F-27D0-17BD-BFF8EA79AD05}"/>
                </a:ext>
              </a:extLst>
            </p:cNvPr>
            <p:cNvSpPr txBox="1"/>
            <p:nvPr/>
          </p:nvSpPr>
          <p:spPr>
            <a:xfrm flipH="1">
              <a:off x="4058664" y="187379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23898B">
                <a:alpha val="50000"/>
              </a:srgbClr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i="0" kern="120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Managers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0" name="Google Shape;341;p25">
              <a:extLst>
                <a:ext uri="{FF2B5EF4-FFF2-40B4-BE49-F238E27FC236}">
                  <a16:creationId xmlns:a16="http://schemas.microsoft.com/office/drawing/2014/main" id="{75C6EC9C-C239-7640-14C6-2480913A199A}"/>
                </a:ext>
              </a:extLst>
            </p:cNvPr>
            <p:cNvSpPr txBox="1"/>
            <p:nvPr/>
          </p:nvSpPr>
          <p:spPr>
            <a:xfrm flipH="1">
              <a:off x="4058664" y="212778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i="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Specialists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1" name="Google Shape;342;p25">
              <a:extLst>
                <a:ext uri="{FF2B5EF4-FFF2-40B4-BE49-F238E27FC236}">
                  <a16:creationId xmlns:a16="http://schemas.microsoft.com/office/drawing/2014/main" id="{2E7A234B-CC81-9799-F5C3-1DB690771C5A}"/>
                </a:ext>
              </a:extLst>
            </p:cNvPr>
            <p:cNvSpPr txBox="1"/>
            <p:nvPr/>
          </p:nvSpPr>
          <p:spPr>
            <a:xfrm flipH="1">
              <a:off x="4058664" y="238177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i="0" kern="120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Technicians and assistant specialists</a:t>
              </a:r>
              <a:endParaRPr kumimoji="0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2" name="Google Shape;343;p25">
              <a:extLst>
                <a:ext uri="{FF2B5EF4-FFF2-40B4-BE49-F238E27FC236}">
                  <a16:creationId xmlns:a16="http://schemas.microsoft.com/office/drawing/2014/main" id="{CF05C761-25FD-BD59-33A6-FBA4E9E3AB43}"/>
                </a:ext>
              </a:extLst>
            </p:cNvPr>
            <p:cNvSpPr txBox="1"/>
            <p:nvPr/>
          </p:nvSpPr>
          <p:spPr>
            <a:xfrm flipH="1">
              <a:off x="4058663" y="288975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i="0" kern="1200" dirty="0">
                  <a:solidFill>
                    <a:srgbClr val="D9D9D9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Service and sales workers</a:t>
              </a:r>
              <a:endParaRPr sz="900" kern="0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3" name="Google Shape;344;p25">
              <a:extLst>
                <a:ext uri="{FF2B5EF4-FFF2-40B4-BE49-F238E27FC236}">
                  <a16:creationId xmlns:a16="http://schemas.microsoft.com/office/drawing/2014/main" id="{C2DC0935-64F6-DC63-4E84-77507FDADDAA}"/>
                </a:ext>
              </a:extLst>
            </p:cNvPr>
            <p:cNvSpPr txBox="1"/>
            <p:nvPr/>
          </p:nvSpPr>
          <p:spPr>
            <a:xfrm flipH="1">
              <a:off x="4058663" y="314374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>
                <a:buClr>
                  <a:srgbClr val="000000"/>
                </a:buClr>
                <a:buSzPts val="2000"/>
                <a:defRPr/>
              </a:pPr>
              <a:r>
                <a:rPr lang="en-US" sz="900" b="1" i="0" kern="1200" dirty="0">
                  <a:solidFill>
                    <a:srgbClr val="D9D9D9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Skilled workers in agriculture, forestry &amp; fish farms</a:t>
              </a:r>
              <a:endParaRPr sz="900" kern="0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4" name="Google Shape;345;p25">
              <a:extLst>
                <a:ext uri="{FF2B5EF4-FFF2-40B4-BE49-F238E27FC236}">
                  <a16:creationId xmlns:a16="http://schemas.microsoft.com/office/drawing/2014/main" id="{0068BF27-4B2D-17B7-3EB0-9B06CF0CA83B}"/>
                </a:ext>
              </a:extLst>
            </p:cNvPr>
            <p:cNvSpPr txBox="1"/>
            <p:nvPr/>
          </p:nvSpPr>
          <p:spPr>
            <a:xfrm flipH="1">
              <a:off x="4058663" y="263576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i="0" kern="1200" dirty="0">
                  <a:solidFill>
                    <a:srgbClr val="D9D9D9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Office Support Workers</a:t>
              </a:r>
              <a:endParaRPr sz="900" kern="0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5" name="Google Shape;346;p25">
              <a:extLst>
                <a:ext uri="{FF2B5EF4-FFF2-40B4-BE49-F238E27FC236}">
                  <a16:creationId xmlns:a16="http://schemas.microsoft.com/office/drawing/2014/main" id="{30389572-B330-0F61-64C4-E3E84847A6F5}"/>
                </a:ext>
              </a:extLst>
            </p:cNvPr>
            <p:cNvSpPr txBox="1"/>
            <p:nvPr/>
          </p:nvSpPr>
          <p:spPr>
            <a:xfrm flipH="1">
              <a:off x="4058663" y="339773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i="0" kern="1200" dirty="0">
                  <a:solidFill>
                    <a:srgbClr val="D9D9D9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Craftsmen and those associated with them</a:t>
              </a:r>
              <a:endParaRPr sz="900" kern="0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6" name="Google Shape;347;p25">
              <a:extLst>
                <a:ext uri="{FF2B5EF4-FFF2-40B4-BE49-F238E27FC236}">
                  <a16:creationId xmlns:a16="http://schemas.microsoft.com/office/drawing/2014/main" id="{3B240A85-9AC7-B470-1E07-DBB458F80FDB}"/>
                </a:ext>
              </a:extLst>
            </p:cNvPr>
            <p:cNvSpPr txBox="1"/>
            <p:nvPr/>
          </p:nvSpPr>
          <p:spPr>
            <a:xfrm flipH="1">
              <a:off x="4058663" y="3651725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>
                <a:buClr>
                  <a:srgbClr val="000000"/>
                </a:buClr>
                <a:buSzPts val="2000"/>
                <a:defRPr/>
              </a:pPr>
              <a:r>
                <a:rPr lang="en-US" sz="900" b="1" i="0" kern="1200" dirty="0">
                  <a:solidFill>
                    <a:srgbClr val="D9D9D9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Plant and machinery operators &amp; assembly workers</a:t>
              </a:r>
              <a:endParaRPr lang="ar-SA" sz="900" kern="0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7" name="Google Shape;348;p25">
              <a:extLst>
                <a:ext uri="{FF2B5EF4-FFF2-40B4-BE49-F238E27FC236}">
                  <a16:creationId xmlns:a16="http://schemas.microsoft.com/office/drawing/2014/main" id="{8580889F-8E91-9962-FEDF-AA0DF6D69FC5}"/>
                </a:ext>
              </a:extLst>
            </p:cNvPr>
            <p:cNvSpPr txBox="1"/>
            <p:nvPr/>
          </p:nvSpPr>
          <p:spPr>
            <a:xfrm flipH="1">
              <a:off x="4058664" y="390571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900" b="1" kern="1200" dirty="0">
                  <a:solidFill>
                    <a:srgbClr val="D9D9D9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Primary occupations</a:t>
              </a:r>
              <a:endParaRPr sz="900" b="1" kern="0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</p:grpSp>
      <p:sp>
        <p:nvSpPr>
          <p:cNvPr id="28" name="Google Shape;349;p25">
            <a:extLst>
              <a:ext uri="{FF2B5EF4-FFF2-40B4-BE49-F238E27FC236}">
                <a16:creationId xmlns:a16="http://schemas.microsoft.com/office/drawing/2014/main" id="{69ADAD02-5447-4209-E01A-DEC26E54EAF8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2360001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1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29" name="Google Shape;350;p25">
            <a:extLst>
              <a:ext uri="{FF2B5EF4-FFF2-40B4-BE49-F238E27FC236}">
                <a16:creationId xmlns:a16="http://schemas.microsoft.com/office/drawing/2014/main" id="{709382B0-0971-4BD8-EAF3-44A84CF62C9E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2667329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2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0" name="Google Shape;351;p25">
            <a:extLst>
              <a:ext uri="{FF2B5EF4-FFF2-40B4-BE49-F238E27FC236}">
                <a16:creationId xmlns:a16="http://schemas.microsoft.com/office/drawing/2014/main" id="{53CDF917-94C7-64EB-CAF2-E041FD3CD15E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2974656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3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1" name="Google Shape;352;p25">
            <a:extLst>
              <a:ext uri="{FF2B5EF4-FFF2-40B4-BE49-F238E27FC236}">
                <a16:creationId xmlns:a16="http://schemas.microsoft.com/office/drawing/2014/main" id="{75313950-B287-0294-0668-17A50C678642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3281984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4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2" name="Google Shape;353;p25">
            <a:extLst>
              <a:ext uri="{FF2B5EF4-FFF2-40B4-BE49-F238E27FC236}">
                <a16:creationId xmlns:a16="http://schemas.microsoft.com/office/drawing/2014/main" id="{5994FEC8-5382-F8DB-F55A-DE517416E6C1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3589312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5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Google Shape;354;p25">
            <a:extLst>
              <a:ext uri="{FF2B5EF4-FFF2-40B4-BE49-F238E27FC236}">
                <a16:creationId xmlns:a16="http://schemas.microsoft.com/office/drawing/2014/main" id="{2FE1563A-DFE9-9A6A-BC27-8130EBE65CCD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3896641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6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Google Shape;355;p25">
            <a:extLst>
              <a:ext uri="{FF2B5EF4-FFF2-40B4-BE49-F238E27FC236}">
                <a16:creationId xmlns:a16="http://schemas.microsoft.com/office/drawing/2014/main" id="{046C85E0-B2CF-954B-B548-17519C3C9323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4203970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7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Google Shape;356;p25">
            <a:extLst>
              <a:ext uri="{FF2B5EF4-FFF2-40B4-BE49-F238E27FC236}">
                <a16:creationId xmlns:a16="http://schemas.microsoft.com/office/drawing/2014/main" id="{FB91DCF6-CF88-29E6-5D95-110BEF6590FC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4511297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8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Google Shape;357;p25">
            <a:extLst>
              <a:ext uri="{FF2B5EF4-FFF2-40B4-BE49-F238E27FC236}">
                <a16:creationId xmlns:a16="http://schemas.microsoft.com/office/drawing/2014/main" id="{BEB2C5D2-8400-6BD6-E79C-7DEEF79E00AB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4818624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9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F15C1F4-2B3D-971C-4198-825240384FB5}"/>
              </a:ext>
            </a:extLst>
          </p:cNvPr>
          <p:cNvSpPr txBox="1"/>
          <p:nvPr/>
        </p:nvSpPr>
        <p:spPr>
          <a:xfrm>
            <a:off x="6735415" y="2097023"/>
            <a:ext cx="1354538" cy="169277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 Main group</a:t>
            </a:r>
            <a:endParaRPr kumimoji="0" lang="ar-SA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FE66D775-80BF-1C1E-4833-F5E8F5B65BC8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4114756" y="2355692"/>
            <a:ext cx="1079461" cy="2706072"/>
          </a:xfrm>
          <a:custGeom>
            <a:avLst/>
            <a:gdLst>
              <a:gd name="connsiteX0" fmla="*/ 0 w 1865671"/>
              <a:gd name="connsiteY0" fmla="*/ 0 h 3731342"/>
              <a:gd name="connsiteX1" fmla="*/ 1865671 w 1865671"/>
              <a:gd name="connsiteY1" fmla="*/ 1865671 h 3731342"/>
              <a:gd name="connsiteX2" fmla="*/ 0 w 1865671"/>
              <a:gd name="connsiteY2" fmla="*/ 3731342 h 3731342"/>
              <a:gd name="connsiteX3" fmla="*/ 0 w 1865671"/>
              <a:gd name="connsiteY3" fmla="*/ 0 h 3731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5671" h="3731342">
                <a:moveTo>
                  <a:pt x="0" y="0"/>
                </a:moveTo>
                <a:cubicBezTo>
                  <a:pt x="1030382" y="0"/>
                  <a:pt x="1865671" y="835289"/>
                  <a:pt x="1865671" y="1865671"/>
                </a:cubicBezTo>
                <a:cubicBezTo>
                  <a:pt x="1865671" y="2896053"/>
                  <a:pt x="1030382" y="3731342"/>
                  <a:pt x="0" y="3731342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C580161-8DC0-D337-1C54-BFDCE2BC8CFF}"/>
              </a:ext>
            </a:extLst>
          </p:cNvPr>
          <p:cNvSpPr/>
          <p:nvPr/>
        </p:nvSpPr>
        <p:spPr>
          <a:xfrm>
            <a:off x="4229137" y="3767719"/>
            <a:ext cx="787967" cy="692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fontAlgn="base"/>
            <a:r>
              <a:rPr lang="en-US" sz="900" b="1" i="0" dirty="0">
                <a:solidFill>
                  <a:srgbClr val="15828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udi Standard Classification of Occupations *</a:t>
            </a:r>
          </a:p>
        </p:txBody>
      </p:sp>
      <p:pic>
        <p:nvPicPr>
          <p:cNvPr id="76" name="Picture 50">
            <a:extLst>
              <a:ext uri="{FF2B5EF4-FFF2-40B4-BE49-F238E27FC236}">
                <a16:creationId xmlns:a16="http://schemas.microsoft.com/office/drawing/2014/main" id="{0199AD5F-3538-AE62-C821-9DFFE15D3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088" y="3109344"/>
            <a:ext cx="675081" cy="49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14FD7A92-2790-8CD0-CF9A-EA69DCF0F87F}"/>
              </a:ext>
            </a:extLst>
          </p:cNvPr>
          <p:cNvSpPr txBox="1"/>
          <p:nvPr/>
        </p:nvSpPr>
        <p:spPr>
          <a:xfrm>
            <a:off x="9604849" y="2097023"/>
            <a:ext cx="1245534" cy="169277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algn="ctr" rtl="1" fontAlgn="t"/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No. of </a:t>
            </a:r>
            <a:r>
              <a:rPr lang="en-US" sz="11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Professions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CA0A73F-202C-7ABC-58A1-1AF5BD387463}"/>
              </a:ext>
            </a:extLst>
          </p:cNvPr>
          <p:cNvGrpSpPr/>
          <p:nvPr/>
        </p:nvGrpSpPr>
        <p:grpSpPr>
          <a:xfrm>
            <a:off x="9602966" y="2328343"/>
            <a:ext cx="1252548" cy="2725099"/>
            <a:chOff x="4058663" y="1873796"/>
            <a:chExt cx="2757957" cy="2252147"/>
          </a:xfrm>
        </p:grpSpPr>
        <p:sp>
          <p:nvSpPr>
            <p:cNvPr id="103" name="Google Shape;340;p25">
              <a:extLst>
                <a:ext uri="{FF2B5EF4-FFF2-40B4-BE49-F238E27FC236}">
                  <a16:creationId xmlns:a16="http://schemas.microsoft.com/office/drawing/2014/main" id="{65AC53F6-00F3-FA67-8307-D465FD4EACDF}"/>
                </a:ext>
              </a:extLst>
            </p:cNvPr>
            <p:cNvSpPr txBox="1"/>
            <p:nvPr/>
          </p:nvSpPr>
          <p:spPr>
            <a:xfrm flipH="1">
              <a:off x="4058664" y="187379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23898B">
                <a:alpha val="50000"/>
              </a:srgbClr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05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che Sans"/>
                  <a:cs typeface="Arial" panose="020B0604020202020204" pitchFamily="34" charset="0"/>
                  <a:sym typeface="Roche Sans"/>
                </a:rPr>
                <a:t>312</a:t>
              </a:r>
              <a:endParaRPr kumimoji="0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4" name="Google Shape;341;p25">
              <a:extLst>
                <a:ext uri="{FF2B5EF4-FFF2-40B4-BE49-F238E27FC236}">
                  <a16:creationId xmlns:a16="http://schemas.microsoft.com/office/drawing/2014/main" id="{8625D743-732B-2818-98CF-8E26336E9FAF}"/>
                </a:ext>
              </a:extLst>
            </p:cNvPr>
            <p:cNvSpPr txBox="1"/>
            <p:nvPr/>
          </p:nvSpPr>
          <p:spPr>
            <a:xfrm flipH="1">
              <a:off x="4058664" y="212778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05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che Sans"/>
                  <a:cs typeface="Arial" panose="020B0604020202020204" pitchFamily="34" charset="0"/>
                  <a:sym typeface="Roche Sans"/>
                </a:rPr>
                <a:t>630</a:t>
              </a:r>
              <a:endParaRPr kumimoji="0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5" name="Google Shape;342;p25">
              <a:extLst>
                <a:ext uri="{FF2B5EF4-FFF2-40B4-BE49-F238E27FC236}">
                  <a16:creationId xmlns:a16="http://schemas.microsoft.com/office/drawing/2014/main" id="{92248A71-B55A-57F8-25F6-BD0AD01306C1}"/>
                </a:ext>
              </a:extLst>
            </p:cNvPr>
            <p:cNvSpPr txBox="1"/>
            <p:nvPr/>
          </p:nvSpPr>
          <p:spPr>
            <a:xfrm flipH="1">
              <a:off x="4058664" y="238177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05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Roche Sans"/>
                  <a:cs typeface="Arial" panose="020B0604020202020204" pitchFamily="34" charset="0"/>
                  <a:sym typeface="Roche Sans"/>
                </a:rPr>
                <a:t>373</a:t>
              </a:r>
              <a:endParaRPr kumimoji="0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6" name="Google Shape;343;p25">
              <a:extLst>
                <a:ext uri="{FF2B5EF4-FFF2-40B4-BE49-F238E27FC236}">
                  <a16:creationId xmlns:a16="http://schemas.microsoft.com/office/drawing/2014/main" id="{76FF471B-CF72-4922-6FB7-B2647A5A03FF}"/>
                </a:ext>
              </a:extLst>
            </p:cNvPr>
            <p:cNvSpPr txBox="1"/>
            <p:nvPr/>
          </p:nvSpPr>
          <p:spPr>
            <a:xfrm flipH="1">
              <a:off x="4058663" y="288975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1050" kern="0" dirty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109</a:t>
              </a:r>
              <a:endParaRPr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7" name="Google Shape;344;p25">
              <a:extLst>
                <a:ext uri="{FF2B5EF4-FFF2-40B4-BE49-F238E27FC236}">
                  <a16:creationId xmlns:a16="http://schemas.microsoft.com/office/drawing/2014/main" id="{6EF7CB90-176B-69C8-2B8D-4BD0D1AB26E7}"/>
                </a:ext>
              </a:extLst>
            </p:cNvPr>
            <p:cNvSpPr txBox="1"/>
            <p:nvPr/>
          </p:nvSpPr>
          <p:spPr>
            <a:xfrm flipH="1">
              <a:off x="4058663" y="314374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algn="ctr">
                <a:buClr>
                  <a:srgbClr val="000000"/>
                </a:buClr>
                <a:buSzPts val="2000"/>
                <a:defRPr/>
              </a:pPr>
              <a:r>
                <a:rPr lang="en-US" sz="1050" kern="0" dirty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53</a:t>
              </a:r>
              <a:endParaRPr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8" name="Google Shape;345;p25">
              <a:extLst>
                <a:ext uri="{FF2B5EF4-FFF2-40B4-BE49-F238E27FC236}">
                  <a16:creationId xmlns:a16="http://schemas.microsoft.com/office/drawing/2014/main" id="{4B68A974-E38F-41C7-FF2F-4FFAAD589422}"/>
                </a:ext>
              </a:extLst>
            </p:cNvPr>
            <p:cNvSpPr txBox="1"/>
            <p:nvPr/>
          </p:nvSpPr>
          <p:spPr>
            <a:xfrm flipH="1">
              <a:off x="4058663" y="263576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1050" kern="0" dirty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52</a:t>
              </a:r>
              <a:endParaRPr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9" name="Google Shape;346;p25">
              <a:extLst>
                <a:ext uri="{FF2B5EF4-FFF2-40B4-BE49-F238E27FC236}">
                  <a16:creationId xmlns:a16="http://schemas.microsoft.com/office/drawing/2014/main" id="{D35377F0-EB9F-02A4-B657-CDF28DA8200B}"/>
                </a:ext>
              </a:extLst>
            </p:cNvPr>
            <p:cNvSpPr txBox="1"/>
            <p:nvPr/>
          </p:nvSpPr>
          <p:spPr>
            <a:xfrm flipH="1">
              <a:off x="4058663" y="339773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1050" kern="0" dirty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179</a:t>
              </a:r>
              <a:endParaRPr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10" name="Google Shape;347;p25">
              <a:extLst>
                <a:ext uri="{FF2B5EF4-FFF2-40B4-BE49-F238E27FC236}">
                  <a16:creationId xmlns:a16="http://schemas.microsoft.com/office/drawing/2014/main" id="{C5BCABF7-3F72-D8B1-7251-44AA57C15662}"/>
                </a:ext>
              </a:extLst>
            </p:cNvPr>
            <p:cNvSpPr txBox="1"/>
            <p:nvPr/>
          </p:nvSpPr>
          <p:spPr>
            <a:xfrm flipH="1">
              <a:off x="4058663" y="3651725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algn="ctr">
                <a:buClr>
                  <a:srgbClr val="000000"/>
                </a:buClr>
                <a:buSzPts val="2000"/>
                <a:defRPr/>
              </a:pPr>
              <a:r>
                <a:rPr lang="en-US" sz="1050" kern="0" dirty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218</a:t>
              </a:r>
              <a:endParaRPr lang="ar-SA"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11" name="Google Shape;348;p25">
              <a:extLst>
                <a:ext uri="{FF2B5EF4-FFF2-40B4-BE49-F238E27FC236}">
                  <a16:creationId xmlns:a16="http://schemas.microsoft.com/office/drawing/2014/main" id="{DA3F588E-7E49-FD78-EC82-3C725A2B7DE8}"/>
                </a:ext>
              </a:extLst>
            </p:cNvPr>
            <p:cNvSpPr txBox="1"/>
            <p:nvPr/>
          </p:nvSpPr>
          <p:spPr>
            <a:xfrm flipH="1">
              <a:off x="4058664" y="390571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lang="en-US" sz="1050" kern="0" dirty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77</a:t>
              </a:r>
              <a:endParaRPr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</p:grpSp>
      <p:cxnSp>
        <p:nvCxnSpPr>
          <p:cNvPr id="113" name="Google Shape;330;p25">
            <a:extLst>
              <a:ext uri="{FF2B5EF4-FFF2-40B4-BE49-F238E27FC236}">
                <a16:creationId xmlns:a16="http://schemas.microsoft.com/office/drawing/2014/main" id="{ADE12DFD-73A2-AADB-48D0-34A977E3E470}"/>
              </a:ext>
            </a:extLst>
          </p:cNvPr>
          <p:cNvCxnSpPr>
            <a:cxnSpLocks/>
          </p:cNvCxnSpPr>
          <p:nvPr/>
        </p:nvCxnSpPr>
        <p:spPr>
          <a:xfrm flipH="1">
            <a:off x="5599253" y="3690893"/>
            <a:ext cx="258426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15" name="Google Shape;330;p25">
            <a:extLst>
              <a:ext uri="{FF2B5EF4-FFF2-40B4-BE49-F238E27FC236}">
                <a16:creationId xmlns:a16="http://schemas.microsoft.com/office/drawing/2014/main" id="{6BF477FF-7F39-4EE0-378A-3EBB03DEAA6A}"/>
              </a:ext>
            </a:extLst>
          </p:cNvPr>
          <p:cNvCxnSpPr>
            <a:cxnSpLocks/>
          </p:cNvCxnSpPr>
          <p:nvPr/>
        </p:nvCxnSpPr>
        <p:spPr>
          <a:xfrm flipH="1">
            <a:off x="5499907" y="4006754"/>
            <a:ext cx="357772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18" name="Google Shape;330;p25">
            <a:extLst>
              <a:ext uri="{FF2B5EF4-FFF2-40B4-BE49-F238E27FC236}">
                <a16:creationId xmlns:a16="http://schemas.microsoft.com/office/drawing/2014/main" id="{1219BFB3-2545-1F9B-F0DF-E4220078E8B9}"/>
              </a:ext>
            </a:extLst>
          </p:cNvPr>
          <p:cNvCxnSpPr>
            <a:cxnSpLocks/>
          </p:cNvCxnSpPr>
          <p:nvPr/>
        </p:nvCxnSpPr>
        <p:spPr>
          <a:xfrm flipH="1">
            <a:off x="5499907" y="3395034"/>
            <a:ext cx="357772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19" name="Google Shape;330;p25">
            <a:extLst>
              <a:ext uri="{FF2B5EF4-FFF2-40B4-BE49-F238E27FC236}">
                <a16:creationId xmlns:a16="http://schemas.microsoft.com/office/drawing/2014/main" id="{D64AECA9-D292-28BB-C4F7-FC8162112C8A}"/>
              </a:ext>
            </a:extLst>
          </p:cNvPr>
          <p:cNvCxnSpPr>
            <a:cxnSpLocks/>
          </p:cNvCxnSpPr>
          <p:nvPr/>
        </p:nvCxnSpPr>
        <p:spPr>
          <a:xfrm flipH="1" flipV="1">
            <a:off x="5359504" y="3082316"/>
            <a:ext cx="498175" cy="73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23" name="Google Shape;330;p25">
            <a:extLst>
              <a:ext uri="{FF2B5EF4-FFF2-40B4-BE49-F238E27FC236}">
                <a16:creationId xmlns:a16="http://schemas.microsoft.com/office/drawing/2014/main" id="{99E3EF7A-CF45-2DDE-6FCE-951BAA994323}"/>
              </a:ext>
            </a:extLst>
          </p:cNvPr>
          <p:cNvCxnSpPr>
            <a:cxnSpLocks/>
          </p:cNvCxnSpPr>
          <p:nvPr/>
        </p:nvCxnSpPr>
        <p:spPr>
          <a:xfrm flipH="1" flipV="1">
            <a:off x="5359504" y="4334582"/>
            <a:ext cx="498175" cy="73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33" name="Google Shape;330;p25">
            <a:extLst>
              <a:ext uri="{FF2B5EF4-FFF2-40B4-BE49-F238E27FC236}">
                <a16:creationId xmlns:a16="http://schemas.microsoft.com/office/drawing/2014/main" id="{FB2253B3-ACD5-8A72-79CA-1D9E37A4C573}"/>
              </a:ext>
            </a:extLst>
          </p:cNvPr>
          <p:cNvCxnSpPr>
            <a:cxnSpLocks/>
          </p:cNvCxnSpPr>
          <p:nvPr/>
        </p:nvCxnSpPr>
        <p:spPr>
          <a:xfrm flipH="1">
            <a:off x="5060299" y="4626841"/>
            <a:ext cx="797380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37" name="Google Shape;330;p25">
            <a:extLst>
              <a:ext uri="{FF2B5EF4-FFF2-40B4-BE49-F238E27FC236}">
                <a16:creationId xmlns:a16="http://schemas.microsoft.com/office/drawing/2014/main" id="{313145AB-EB66-D803-854F-5D6829F6F161}"/>
              </a:ext>
            </a:extLst>
          </p:cNvPr>
          <p:cNvCxnSpPr>
            <a:cxnSpLocks/>
          </p:cNvCxnSpPr>
          <p:nvPr/>
        </p:nvCxnSpPr>
        <p:spPr>
          <a:xfrm flipH="1">
            <a:off x="4794198" y="4928737"/>
            <a:ext cx="1063481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39" name="Google Shape;330;p25">
            <a:extLst>
              <a:ext uri="{FF2B5EF4-FFF2-40B4-BE49-F238E27FC236}">
                <a16:creationId xmlns:a16="http://schemas.microsoft.com/office/drawing/2014/main" id="{352F3A4C-A7A1-C5F5-4264-79C1124C1732}"/>
              </a:ext>
            </a:extLst>
          </p:cNvPr>
          <p:cNvCxnSpPr>
            <a:cxnSpLocks/>
          </p:cNvCxnSpPr>
          <p:nvPr/>
        </p:nvCxnSpPr>
        <p:spPr>
          <a:xfrm flipH="1">
            <a:off x="5060299" y="2769115"/>
            <a:ext cx="797380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40" name="Google Shape;330;p25">
            <a:extLst>
              <a:ext uri="{FF2B5EF4-FFF2-40B4-BE49-F238E27FC236}">
                <a16:creationId xmlns:a16="http://schemas.microsoft.com/office/drawing/2014/main" id="{FD61C313-FB15-16C0-DFA6-5AF5363E3995}"/>
              </a:ext>
            </a:extLst>
          </p:cNvPr>
          <p:cNvCxnSpPr>
            <a:cxnSpLocks/>
          </p:cNvCxnSpPr>
          <p:nvPr/>
        </p:nvCxnSpPr>
        <p:spPr>
          <a:xfrm flipH="1">
            <a:off x="4794198" y="2459340"/>
            <a:ext cx="1063481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33AFF6EE-B8B1-DBA9-1C6B-F0BF84FAF477}"/>
              </a:ext>
            </a:extLst>
          </p:cNvPr>
          <p:cNvSpPr txBox="1"/>
          <p:nvPr/>
        </p:nvSpPr>
        <p:spPr>
          <a:xfrm>
            <a:off x="6399411" y="5467867"/>
            <a:ext cx="671659" cy="161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23898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gh skills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8C474F9-676F-6788-A8A5-FC1FC3DEC855}"/>
              </a:ext>
            </a:extLst>
          </p:cNvPr>
          <p:cNvSpPr>
            <a:spLocks noChangeAspect="1"/>
          </p:cNvSpPr>
          <p:nvPr/>
        </p:nvSpPr>
        <p:spPr>
          <a:xfrm>
            <a:off x="5959089" y="5387819"/>
            <a:ext cx="332599" cy="332599"/>
          </a:xfrm>
          <a:prstGeom prst="ellipse">
            <a:avLst/>
          </a:prstGeom>
          <a:solidFill>
            <a:srgbClr val="2389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Graphic 620">
            <a:extLst>
              <a:ext uri="{FF2B5EF4-FFF2-40B4-BE49-F238E27FC236}">
                <a16:creationId xmlns:a16="http://schemas.microsoft.com/office/drawing/2014/main" id="{071816B0-4249-9481-FC31-E210F99EDA3E}"/>
              </a:ext>
            </a:extLst>
          </p:cNvPr>
          <p:cNvSpPr>
            <a:spLocks noChangeAspect="1"/>
          </p:cNvSpPr>
          <p:nvPr/>
        </p:nvSpPr>
        <p:spPr>
          <a:xfrm>
            <a:off x="6033093" y="5434380"/>
            <a:ext cx="184589" cy="239477"/>
          </a:xfrm>
          <a:custGeom>
            <a:avLst/>
            <a:gdLst>
              <a:gd name="connsiteX0" fmla="*/ 897777 w 2349032"/>
              <a:gd name="connsiteY0" fmla="*/ 1539221 h 3047524"/>
              <a:gd name="connsiteX1" fmla="*/ 896730 w 2349032"/>
              <a:gd name="connsiteY1" fmla="*/ 1439114 h 3047524"/>
              <a:gd name="connsiteX2" fmla="*/ 874727 w 2349032"/>
              <a:gd name="connsiteY2" fmla="*/ 1391489 h 3047524"/>
              <a:gd name="connsiteX3" fmla="*/ 721279 w 2349032"/>
              <a:gd name="connsiteY3" fmla="*/ 1134885 h 3047524"/>
              <a:gd name="connsiteX4" fmla="*/ 683560 w 2349032"/>
              <a:gd name="connsiteY4" fmla="*/ 1097357 h 3047524"/>
              <a:gd name="connsiteX5" fmla="*/ 559354 w 2349032"/>
              <a:gd name="connsiteY5" fmla="*/ 787032 h 3047524"/>
              <a:gd name="connsiteX6" fmla="*/ 573546 w 2349032"/>
              <a:gd name="connsiteY6" fmla="*/ 729215 h 3047524"/>
              <a:gd name="connsiteX7" fmla="*/ 595549 w 2349032"/>
              <a:gd name="connsiteY7" fmla="*/ 436607 h 3047524"/>
              <a:gd name="connsiteX8" fmla="*/ 1035890 w 2349032"/>
              <a:gd name="connsiteY8" fmla="*/ 4553 h 3047524"/>
              <a:gd name="connsiteX9" fmla="*/ 1105518 w 2349032"/>
              <a:gd name="connsiteY9" fmla="*/ 31414 h 3047524"/>
              <a:gd name="connsiteX10" fmla="*/ 1056369 w 2349032"/>
              <a:gd name="connsiteY10" fmla="*/ 92374 h 3047524"/>
              <a:gd name="connsiteX11" fmla="*/ 676035 w 2349032"/>
              <a:gd name="connsiteY11" fmla="*/ 480422 h 3047524"/>
              <a:gd name="connsiteX12" fmla="*/ 655366 w 2349032"/>
              <a:gd name="connsiteY12" fmla="*/ 701498 h 3047524"/>
              <a:gd name="connsiteX13" fmla="*/ 671749 w 2349032"/>
              <a:gd name="connsiteY13" fmla="*/ 712356 h 3047524"/>
              <a:gd name="connsiteX14" fmla="*/ 725946 w 2349032"/>
              <a:gd name="connsiteY14" fmla="*/ 673589 h 3047524"/>
              <a:gd name="connsiteX15" fmla="*/ 802527 w 2349032"/>
              <a:gd name="connsiteY15" fmla="*/ 636918 h 3047524"/>
              <a:gd name="connsiteX16" fmla="*/ 1358692 w 2349032"/>
              <a:gd name="connsiteY16" fmla="*/ 486804 h 3047524"/>
              <a:gd name="connsiteX17" fmla="*/ 1481469 w 2349032"/>
              <a:gd name="connsiteY17" fmla="*/ 502520 h 3047524"/>
              <a:gd name="connsiteX18" fmla="*/ 1622630 w 2349032"/>
              <a:gd name="connsiteY18" fmla="*/ 668255 h 3047524"/>
              <a:gd name="connsiteX19" fmla="*/ 1665302 w 2349032"/>
              <a:gd name="connsiteY19" fmla="*/ 717690 h 3047524"/>
              <a:gd name="connsiteX20" fmla="*/ 1324307 w 2349032"/>
              <a:gd name="connsiteY20" fmla="*/ 103899 h 3047524"/>
              <a:gd name="connsiteX21" fmla="*/ 1273920 w 2349032"/>
              <a:gd name="connsiteY21" fmla="*/ 89993 h 3047524"/>
              <a:gd name="connsiteX22" fmla="*/ 1231914 w 2349032"/>
              <a:gd name="connsiteY22" fmla="*/ 32938 h 3047524"/>
              <a:gd name="connsiteX23" fmla="*/ 1296113 w 2349032"/>
              <a:gd name="connsiteY23" fmla="*/ 2744 h 3047524"/>
              <a:gd name="connsiteX24" fmla="*/ 1658634 w 2349032"/>
              <a:gd name="connsiteY24" fmla="*/ 245441 h 3047524"/>
              <a:gd name="connsiteX25" fmla="*/ 1765696 w 2349032"/>
              <a:gd name="connsiteY25" fmla="*/ 584340 h 3047524"/>
              <a:gd name="connsiteX26" fmla="*/ 1765505 w 2349032"/>
              <a:gd name="connsiteY26" fmla="*/ 689115 h 3047524"/>
              <a:gd name="connsiteX27" fmla="*/ 1792747 w 2349032"/>
              <a:gd name="connsiteY27" fmla="*/ 810940 h 3047524"/>
              <a:gd name="connsiteX28" fmla="*/ 1665302 w 2349032"/>
              <a:gd name="connsiteY28" fmla="*/ 1092880 h 3047524"/>
              <a:gd name="connsiteX29" fmla="*/ 1611009 w 2349032"/>
              <a:gd name="connsiteY29" fmla="*/ 1151554 h 3047524"/>
              <a:gd name="connsiteX30" fmla="*/ 1473945 w 2349032"/>
              <a:gd name="connsiteY30" fmla="*/ 1379868 h 3047524"/>
              <a:gd name="connsiteX31" fmla="*/ 1450513 w 2349032"/>
              <a:gd name="connsiteY31" fmla="*/ 1485596 h 3047524"/>
              <a:gd name="connsiteX32" fmla="*/ 1507473 w 2349032"/>
              <a:gd name="connsiteY32" fmla="*/ 1564653 h 3047524"/>
              <a:gd name="connsiteX33" fmla="*/ 2007821 w 2349032"/>
              <a:gd name="connsiteY33" fmla="*/ 1757630 h 3047524"/>
              <a:gd name="connsiteX34" fmla="*/ 2283856 w 2349032"/>
              <a:gd name="connsiteY34" fmla="*/ 2163109 h 3047524"/>
              <a:gd name="connsiteX35" fmla="*/ 2238136 w 2349032"/>
              <a:gd name="connsiteY35" fmla="*/ 2221688 h 3047524"/>
              <a:gd name="connsiteX36" fmla="*/ 2194130 w 2349032"/>
              <a:gd name="connsiteY36" fmla="*/ 2165681 h 3047524"/>
              <a:gd name="connsiteX37" fmla="*/ 1951814 w 2349032"/>
              <a:gd name="connsiteY37" fmla="*/ 1832687 h 3047524"/>
              <a:gd name="connsiteX38" fmla="*/ 1646823 w 2349032"/>
              <a:gd name="connsiteY38" fmla="*/ 1714767 h 3047524"/>
              <a:gd name="connsiteX39" fmla="*/ 1508616 w 2349032"/>
              <a:gd name="connsiteY39" fmla="*/ 1991183 h 3047524"/>
              <a:gd name="connsiteX40" fmla="*/ 1351739 w 2349032"/>
              <a:gd name="connsiteY40" fmla="*/ 2041189 h 3047524"/>
              <a:gd name="connsiteX41" fmla="*/ 1316592 w 2349032"/>
              <a:gd name="connsiteY41" fmla="*/ 2159585 h 3047524"/>
              <a:gd name="connsiteX42" fmla="*/ 1374504 w 2349032"/>
              <a:gd name="connsiteY42" fmla="*/ 2501342 h 3047524"/>
              <a:gd name="connsiteX43" fmla="*/ 1419271 w 2349032"/>
              <a:gd name="connsiteY43" fmla="*/ 2543823 h 3047524"/>
              <a:gd name="connsiteX44" fmla="*/ 1424034 w 2349032"/>
              <a:gd name="connsiteY44" fmla="*/ 2544204 h 3047524"/>
              <a:gd name="connsiteX45" fmla="*/ 1541191 w 2349032"/>
              <a:gd name="connsiteY45" fmla="*/ 2606783 h 3047524"/>
              <a:gd name="connsiteX46" fmla="*/ 1486899 w 2349032"/>
              <a:gd name="connsiteY46" fmla="*/ 2713845 h 3047524"/>
              <a:gd name="connsiteX47" fmla="*/ 1471087 w 2349032"/>
              <a:gd name="connsiteY47" fmla="*/ 2732132 h 3047524"/>
              <a:gd name="connsiteX48" fmla="*/ 1673113 w 2349032"/>
              <a:gd name="connsiteY48" fmla="*/ 2732132 h 3047524"/>
              <a:gd name="connsiteX49" fmla="*/ 1683876 w 2349032"/>
              <a:gd name="connsiteY49" fmla="*/ 2721560 h 3047524"/>
              <a:gd name="connsiteX50" fmla="*/ 1638156 w 2349032"/>
              <a:gd name="connsiteY50" fmla="*/ 2685270 h 3047524"/>
              <a:gd name="connsiteX51" fmla="*/ 1616343 w 2349032"/>
              <a:gd name="connsiteY51" fmla="*/ 2604402 h 3047524"/>
              <a:gd name="connsiteX52" fmla="*/ 1681590 w 2349032"/>
              <a:gd name="connsiteY52" fmla="*/ 2553348 h 3047524"/>
              <a:gd name="connsiteX53" fmla="*/ 1812273 w 2349032"/>
              <a:gd name="connsiteY53" fmla="*/ 2531060 h 3047524"/>
              <a:gd name="connsiteX54" fmla="*/ 1813797 w 2349032"/>
              <a:gd name="connsiteY54" fmla="*/ 2254454 h 3047524"/>
              <a:gd name="connsiteX55" fmla="*/ 1846848 w 2349032"/>
              <a:gd name="connsiteY55" fmla="*/ 2204733 h 3047524"/>
              <a:gd name="connsiteX56" fmla="*/ 1890378 w 2349032"/>
              <a:gd name="connsiteY56" fmla="*/ 2221592 h 3047524"/>
              <a:gd name="connsiteX57" fmla="*/ 1898569 w 2349032"/>
              <a:gd name="connsiteY57" fmla="*/ 2256930 h 3047524"/>
              <a:gd name="connsiteX58" fmla="*/ 1898950 w 2349032"/>
              <a:gd name="connsiteY58" fmla="*/ 2388947 h 3047524"/>
              <a:gd name="connsiteX59" fmla="*/ 1920667 w 2349032"/>
              <a:gd name="connsiteY59" fmla="*/ 2365706 h 3047524"/>
              <a:gd name="connsiteX60" fmla="*/ 2044206 w 2349032"/>
              <a:gd name="connsiteY60" fmla="*/ 2378279 h 3047524"/>
              <a:gd name="connsiteX61" fmla="*/ 2092689 w 2349032"/>
              <a:gd name="connsiteY61" fmla="*/ 2475910 h 3047524"/>
              <a:gd name="connsiteX62" fmla="*/ 2194321 w 2349032"/>
              <a:gd name="connsiteY62" fmla="*/ 2531345 h 3047524"/>
              <a:gd name="connsiteX63" fmla="*/ 2194225 w 2349032"/>
              <a:gd name="connsiteY63" fmla="*/ 2404472 h 3047524"/>
              <a:gd name="connsiteX64" fmla="*/ 2239279 w 2349032"/>
              <a:gd name="connsiteY64" fmla="*/ 2343989 h 3047524"/>
              <a:gd name="connsiteX65" fmla="*/ 2283951 w 2349032"/>
              <a:gd name="connsiteY65" fmla="*/ 2404282 h 3047524"/>
              <a:gd name="connsiteX66" fmla="*/ 2284236 w 2349032"/>
              <a:gd name="connsiteY66" fmla="*/ 2485245 h 3047524"/>
              <a:gd name="connsiteX67" fmla="*/ 2321670 w 2349032"/>
              <a:gd name="connsiteY67" fmla="*/ 2572493 h 3047524"/>
              <a:gd name="connsiteX68" fmla="*/ 2324527 w 2349032"/>
              <a:gd name="connsiteY68" fmla="*/ 2680983 h 3047524"/>
              <a:gd name="connsiteX69" fmla="*/ 2239088 w 2349032"/>
              <a:gd name="connsiteY69" fmla="*/ 2763755 h 3047524"/>
              <a:gd name="connsiteX70" fmla="*/ 2213275 w 2349032"/>
              <a:gd name="connsiteY70" fmla="*/ 2838622 h 3047524"/>
              <a:gd name="connsiteX71" fmla="*/ 2232135 w 2349032"/>
              <a:gd name="connsiteY71" fmla="*/ 2970162 h 3047524"/>
              <a:gd name="connsiteX72" fmla="*/ 2130027 w 2349032"/>
              <a:gd name="connsiteY72" fmla="*/ 3039599 h 3047524"/>
              <a:gd name="connsiteX73" fmla="*/ 1977246 w 2349032"/>
              <a:gd name="connsiteY73" fmla="*/ 2969591 h 3047524"/>
              <a:gd name="connsiteX74" fmla="*/ 1829132 w 2349032"/>
              <a:gd name="connsiteY74" fmla="*/ 3039123 h 3047524"/>
              <a:gd name="connsiteX75" fmla="*/ 1723976 w 2349032"/>
              <a:gd name="connsiteY75" fmla="*/ 2962542 h 3047524"/>
              <a:gd name="connsiteX76" fmla="*/ 1743979 w 2349032"/>
              <a:gd name="connsiteY76" fmla="*/ 2831859 h 3047524"/>
              <a:gd name="connsiteX77" fmla="*/ 1409460 w 2349032"/>
              <a:gd name="connsiteY77" fmla="*/ 2831859 h 3047524"/>
              <a:gd name="connsiteX78" fmla="*/ 1426225 w 2349032"/>
              <a:gd name="connsiteY78" fmla="*/ 2944349 h 3047524"/>
              <a:gd name="connsiteX79" fmla="*/ 1401650 w 2349032"/>
              <a:gd name="connsiteY79" fmla="*/ 3027979 h 3047524"/>
              <a:gd name="connsiteX80" fmla="*/ 1316497 w 2349032"/>
              <a:gd name="connsiteY80" fmla="*/ 3033980 h 3047524"/>
              <a:gd name="connsiteX81" fmla="*/ 1030651 w 2349032"/>
              <a:gd name="connsiteY81" fmla="*/ 3034932 h 3047524"/>
              <a:gd name="connsiteX82" fmla="*/ 949022 w 2349032"/>
              <a:gd name="connsiteY82" fmla="*/ 3030265 h 3047524"/>
              <a:gd name="connsiteX83" fmla="*/ 921495 w 2349032"/>
              <a:gd name="connsiteY83" fmla="*/ 2947207 h 3047524"/>
              <a:gd name="connsiteX84" fmla="*/ 939592 w 2349032"/>
              <a:gd name="connsiteY84" fmla="*/ 2831288 h 3047524"/>
              <a:gd name="connsiteX85" fmla="*/ 604598 w 2349032"/>
              <a:gd name="connsiteY85" fmla="*/ 2831288 h 3047524"/>
              <a:gd name="connsiteX86" fmla="*/ 624315 w 2349032"/>
              <a:gd name="connsiteY86" fmla="*/ 2959304 h 3047524"/>
              <a:gd name="connsiteX87" fmla="*/ 513158 w 2349032"/>
              <a:gd name="connsiteY87" fmla="*/ 3037123 h 3047524"/>
              <a:gd name="connsiteX88" fmla="*/ 369521 w 2349032"/>
              <a:gd name="connsiteY88" fmla="*/ 2969019 h 3047524"/>
              <a:gd name="connsiteX89" fmla="*/ 225884 w 2349032"/>
              <a:gd name="connsiteY89" fmla="*/ 3037123 h 3047524"/>
              <a:gd name="connsiteX90" fmla="*/ 116442 w 2349032"/>
              <a:gd name="connsiteY90" fmla="*/ 2963590 h 3047524"/>
              <a:gd name="connsiteX91" fmla="*/ 134158 w 2349032"/>
              <a:gd name="connsiteY91" fmla="*/ 2827192 h 3047524"/>
              <a:gd name="connsiteX92" fmla="*/ 113394 w 2349032"/>
              <a:gd name="connsiteY92" fmla="*/ 2770518 h 3047524"/>
              <a:gd name="connsiteX93" fmla="*/ 32526 w 2349032"/>
              <a:gd name="connsiteY93" fmla="*/ 2689937 h 3047524"/>
              <a:gd name="connsiteX94" fmla="*/ 42623 w 2349032"/>
              <a:gd name="connsiteY94" fmla="*/ 2558682 h 3047524"/>
              <a:gd name="connsiteX95" fmla="*/ 63197 w 2349032"/>
              <a:gd name="connsiteY95" fmla="*/ 2512010 h 3047524"/>
              <a:gd name="connsiteX96" fmla="*/ 67864 w 2349032"/>
              <a:gd name="connsiteY96" fmla="*/ 2131105 h 3047524"/>
              <a:gd name="connsiteX97" fmla="*/ 348280 w 2349032"/>
              <a:gd name="connsiteY97" fmla="*/ 1754677 h 3047524"/>
              <a:gd name="connsiteX98" fmla="*/ 852819 w 2349032"/>
              <a:gd name="connsiteY98" fmla="*/ 1559605 h 3047524"/>
              <a:gd name="connsiteX99" fmla="*/ 897777 w 2349032"/>
              <a:gd name="connsiteY99" fmla="*/ 1539221 h 3047524"/>
              <a:gd name="connsiteX100" fmla="*/ 701467 w 2349032"/>
              <a:gd name="connsiteY100" fmla="*/ 1714577 h 3047524"/>
              <a:gd name="connsiteX101" fmla="*/ 347804 w 2349032"/>
              <a:gd name="connsiteY101" fmla="*/ 1854023 h 3047524"/>
              <a:gd name="connsiteX102" fmla="*/ 165686 w 2349032"/>
              <a:gd name="connsiteY102" fmla="*/ 2087195 h 3047524"/>
              <a:gd name="connsiteX103" fmla="*/ 163114 w 2349032"/>
              <a:gd name="connsiteY103" fmla="*/ 2532965 h 3047524"/>
              <a:gd name="connsiteX104" fmla="*/ 255507 w 2349032"/>
              <a:gd name="connsiteY104" fmla="*/ 2475338 h 3047524"/>
              <a:gd name="connsiteX105" fmla="*/ 304846 w 2349032"/>
              <a:gd name="connsiteY105" fmla="*/ 2377993 h 3047524"/>
              <a:gd name="connsiteX106" fmla="*/ 424861 w 2349032"/>
              <a:gd name="connsiteY106" fmla="*/ 2363039 h 3047524"/>
              <a:gd name="connsiteX107" fmla="*/ 438672 w 2349032"/>
              <a:gd name="connsiteY107" fmla="*/ 2389994 h 3047524"/>
              <a:gd name="connsiteX108" fmla="*/ 451912 w 2349032"/>
              <a:gd name="connsiteY108" fmla="*/ 2247310 h 3047524"/>
              <a:gd name="connsiteX109" fmla="*/ 494394 w 2349032"/>
              <a:gd name="connsiteY109" fmla="*/ 2201114 h 3047524"/>
              <a:gd name="connsiteX110" fmla="*/ 534780 w 2349032"/>
              <a:gd name="connsiteY110" fmla="*/ 2246167 h 3047524"/>
              <a:gd name="connsiteX111" fmla="*/ 536494 w 2349032"/>
              <a:gd name="connsiteY111" fmla="*/ 2293125 h 3047524"/>
              <a:gd name="connsiteX112" fmla="*/ 536494 w 2349032"/>
              <a:gd name="connsiteY112" fmla="*/ 2530964 h 3047524"/>
              <a:gd name="connsiteX113" fmla="*/ 662986 w 2349032"/>
              <a:gd name="connsiteY113" fmla="*/ 2552777 h 3047524"/>
              <a:gd name="connsiteX114" fmla="*/ 732423 w 2349032"/>
              <a:gd name="connsiteY114" fmla="*/ 2600592 h 3047524"/>
              <a:gd name="connsiteX115" fmla="*/ 708135 w 2349032"/>
              <a:gd name="connsiteY115" fmla="*/ 2689746 h 3047524"/>
              <a:gd name="connsiteX116" fmla="*/ 666796 w 2349032"/>
              <a:gd name="connsiteY116" fmla="*/ 2732037 h 3047524"/>
              <a:gd name="connsiteX117" fmla="*/ 875013 w 2349032"/>
              <a:gd name="connsiteY117" fmla="*/ 2732037 h 3047524"/>
              <a:gd name="connsiteX118" fmla="*/ 864630 w 2349032"/>
              <a:gd name="connsiteY118" fmla="*/ 2717083 h 3047524"/>
              <a:gd name="connsiteX119" fmla="*/ 807957 w 2349032"/>
              <a:gd name="connsiteY119" fmla="*/ 2606403 h 3047524"/>
              <a:gd name="connsiteX120" fmla="*/ 930162 w 2349032"/>
              <a:gd name="connsiteY120" fmla="*/ 2544871 h 3047524"/>
              <a:gd name="connsiteX121" fmla="*/ 973501 w 2349032"/>
              <a:gd name="connsiteY121" fmla="*/ 2505342 h 3047524"/>
              <a:gd name="connsiteX122" fmla="*/ 1032556 w 2349032"/>
              <a:gd name="connsiteY122" fmla="*/ 2154155 h 3047524"/>
              <a:gd name="connsiteX123" fmla="*/ 996647 w 2349032"/>
              <a:gd name="connsiteY123" fmla="*/ 2041284 h 3047524"/>
              <a:gd name="connsiteX124" fmla="*/ 839294 w 2349032"/>
              <a:gd name="connsiteY124" fmla="*/ 1990611 h 3047524"/>
              <a:gd name="connsiteX125" fmla="*/ 701467 w 2349032"/>
              <a:gd name="connsiteY125" fmla="*/ 1714577 h 3047524"/>
              <a:gd name="connsiteX126" fmla="*/ 802908 w 2349032"/>
              <a:gd name="connsiteY126" fmla="*/ 723119 h 3047524"/>
              <a:gd name="connsiteX127" fmla="*/ 803004 w 2349032"/>
              <a:gd name="connsiteY127" fmla="*/ 1039540 h 3047524"/>
              <a:gd name="connsiteX128" fmla="*/ 1173431 w 2349032"/>
              <a:gd name="connsiteY128" fmla="*/ 1405014 h 3047524"/>
              <a:gd name="connsiteX129" fmla="*/ 1534809 w 2349032"/>
              <a:gd name="connsiteY129" fmla="*/ 1046207 h 3047524"/>
              <a:gd name="connsiteX130" fmla="*/ 1534714 w 2349032"/>
              <a:gd name="connsiteY130" fmla="*/ 722357 h 3047524"/>
              <a:gd name="connsiteX131" fmla="*/ 1521855 w 2349032"/>
              <a:gd name="connsiteY131" fmla="*/ 678828 h 3047524"/>
              <a:gd name="connsiteX132" fmla="*/ 1411270 w 2349032"/>
              <a:gd name="connsiteY132" fmla="*/ 560623 h 3047524"/>
              <a:gd name="connsiteX133" fmla="*/ 802908 w 2349032"/>
              <a:gd name="connsiteY133" fmla="*/ 723119 h 3047524"/>
              <a:gd name="connsiteX134" fmla="*/ 1439464 w 2349032"/>
              <a:gd name="connsiteY134" fmla="*/ 2644979 h 3047524"/>
              <a:gd name="connsiteX135" fmla="*/ 1261728 w 2349032"/>
              <a:gd name="connsiteY135" fmla="*/ 2597163 h 3047524"/>
              <a:gd name="connsiteX136" fmla="*/ 1165811 w 2349032"/>
              <a:gd name="connsiteY136" fmla="*/ 2443906 h 3047524"/>
              <a:gd name="connsiteX137" fmla="*/ 906731 w 2349032"/>
              <a:gd name="connsiteY137" fmla="*/ 2630310 h 3047524"/>
              <a:gd name="connsiteX138" fmla="*/ 1004457 w 2349032"/>
              <a:gd name="connsiteY138" fmla="*/ 2727179 h 3047524"/>
              <a:gd name="connsiteX139" fmla="*/ 1034175 w 2349032"/>
              <a:gd name="connsiteY139" fmla="*/ 2821001 h 3047524"/>
              <a:gd name="connsiteX140" fmla="*/ 1012173 w 2349032"/>
              <a:gd name="connsiteY140" fmla="*/ 2956256 h 3047524"/>
              <a:gd name="connsiteX141" fmla="*/ 1336880 w 2349032"/>
              <a:gd name="connsiteY141" fmla="*/ 2946540 h 3047524"/>
              <a:gd name="connsiteX142" fmla="*/ 1439464 w 2349032"/>
              <a:gd name="connsiteY142" fmla="*/ 2644979 h 3047524"/>
              <a:gd name="connsiteX143" fmla="*/ 529827 w 2349032"/>
              <a:gd name="connsiteY143" fmla="*/ 2942635 h 3047524"/>
              <a:gd name="connsiteX144" fmla="*/ 627267 w 2349032"/>
              <a:gd name="connsiteY144" fmla="*/ 2643169 h 3047524"/>
              <a:gd name="connsiteX145" fmla="*/ 566784 w 2349032"/>
              <a:gd name="connsiteY145" fmla="*/ 2628977 h 3047524"/>
              <a:gd name="connsiteX146" fmla="*/ 404382 w 2349032"/>
              <a:gd name="connsiteY146" fmla="*/ 2519153 h 3047524"/>
              <a:gd name="connsiteX147" fmla="*/ 371902 w 2349032"/>
              <a:gd name="connsiteY147" fmla="*/ 2456193 h 3047524"/>
              <a:gd name="connsiteX148" fmla="*/ 277890 w 2349032"/>
              <a:gd name="connsiteY148" fmla="*/ 2600211 h 3047524"/>
              <a:gd name="connsiteX149" fmla="*/ 103488 w 2349032"/>
              <a:gd name="connsiteY149" fmla="*/ 2644217 h 3047524"/>
              <a:gd name="connsiteX150" fmla="*/ 209120 w 2349032"/>
              <a:gd name="connsiteY150" fmla="*/ 2944254 h 3047524"/>
              <a:gd name="connsiteX151" fmla="*/ 529827 w 2349032"/>
              <a:gd name="connsiteY151" fmla="*/ 2942635 h 3047524"/>
              <a:gd name="connsiteX152" fmla="*/ 2139266 w 2349032"/>
              <a:gd name="connsiteY152" fmla="*/ 2942825 h 3047524"/>
              <a:gd name="connsiteX153" fmla="*/ 2238421 w 2349032"/>
              <a:gd name="connsiteY153" fmla="*/ 2638216 h 3047524"/>
              <a:gd name="connsiteX154" fmla="*/ 1986390 w 2349032"/>
              <a:gd name="connsiteY154" fmla="*/ 2445716 h 3047524"/>
              <a:gd name="connsiteX155" fmla="*/ 1890378 w 2349032"/>
              <a:gd name="connsiteY155" fmla="*/ 2597544 h 3047524"/>
              <a:gd name="connsiteX156" fmla="*/ 1712451 w 2349032"/>
              <a:gd name="connsiteY156" fmla="*/ 2645169 h 3047524"/>
              <a:gd name="connsiteX157" fmla="*/ 1819035 w 2349032"/>
              <a:gd name="connsiteY157" fmla="*/ 2943968 h 3047524"/>
              <a:gd name="connsiteX158" fmla="*/ 2139266 w 2349032"/>
              <a:gd name="connsiteY158" fmla="*/ 2942825 h 3047524"/>
              <a:gd name="connsiteX159" fmla="*/ 1174193 w 2349032"/>
              <a:gd name="connsiteY159" fmla="*/ 1784585 h 3047524"/>
              <a:gd name="connsiteX160" fmla="*/ 1316687 w 2349032"/>
              <a:gd name="connsiteY160" fmla="*/ 1611135 h 3047524"/>
              <a:gd name="connsiteX161" fmla="*/ 1354025 w 2349032"/>
              <a:gd name="connsiteY161" fmla="*/ 1459307 h 3047524"/>
              <a:gd name="connsiteX162" fmla="*/ 984455 w 2349032"/>
              <a:gd name="connsiteY162" fmla="*/ 1459973 h 3047524"/>
              <a:gd name="connsiteX163" fmla="*/ 1004838 w 2349032"/>
              <a:gd name="connsiteY163" fmla="*/ 1571987 h 3047524"/>
              <a:gd name="connsiteX164" fmla="*/ 1174193 w 2349032"/>
              <a:gd name="connsiteY164" fmla="*/ 1784585 h 3047524"/>
              <a:gd name="connsiteX165" fmla="*/ 1416604 w 2349032"/>
              <a:gd name="connsiteY165" fmla="*/ 1973657 h 3047524"/>
              <a:gd name="connsiteX166" fmla="*/ 1561289 w 2349032"/>
              <a:gd name="connsiteY166" fmla="*/ 1682192 h 3047524"/>
              <a:gd name="connsiteX167" fmla="*/ 1418985 w 2349032"/>
              <a:gd name="connsiteY167" fmla="*/ 1626470 h 3047524"/>
              <a:gd name="connsiteX168" fmla="*/ 1240011 w 2349032"/>
              <a:gd name="connsiteY168" fmla="*/ 1847450 h 3047524"/>
              <a:gd name="connsiteX169" fmla="*/ 1416604 w 2349032"/>
              <a:gd name="connsiteY169" fmla="*/ 1973657 h 3047524"/>
              <a:gd name="connsiteX170" fmla="*/ 1107518 w 2349032"/>
              <a:gd name="connsiteY170" fmla="*/ 1847069 h 3047524"/>
              <a:gd name="connsiteX171" fmla="*/ 943878 w 2349032"/>
              <a:gd name="connsiteY171" fmla="*/ 1645139 h 3047524"/>
              <a:gd name="connsiteX172" fmla="*/ 917685 w 2349032"/>
              <a:gd name="connsiteY172" fmla="*/ 1631709 h 3047524"/>
              <a:gd name="connsiteX173" fmla="*/ 787097 w 2349032"/>
              <a:gd name="connsiteY173" fmla="*/ 1683525 h 3047524"/>
              <a:gd name="connsiteX174" fmla="*/ 932163 w 2349032"/>
              <a:gd name="connsiteY174" fmla="*/ 1973085 h 3047524"/>
              <a:gd name="connsiteX175" fmla="*/ 1072561 w 2349032"/>
              <a:gd name="connsiteY175" fmla="*/ 1873835 h 3047524"/>
              <a:gd name="connsiteX176" fmla="*/ 1107518 w 2349032"/>
              <a:gd name="connsiteY176" fmla="*/ 1847069 h 3047524"/>
              <a:gd name="connsiteX177" fmla="*/ 1078562 w 2349032"/>
              <a:gd name="connsiteY177" fmla="*/ 2415998 h 3047524"/>
              <a:gd name="connsiteX178" fmla="*/ 1272205 w 2349032"/>
              <a:gd name="connsiteY178" fmla="*/ 2429428 h 3047524"/>
              <a:gd name="connsiteX179" fmla="*/ 1222104 w 2349032"/>
              <a:gd name="connsiteY179" fmla="*/ 2136153 h 3047524"/>
              <a:gd name="connsiteX180" fmla="*/ 1126473 w 2349032"/>
              <a:gd name="connsiteY180" fmla="*/ 2136153 h 3047524"/>
              <a:gd name="connsiteX181" fmla="*/ 1078562 w 2349032"/>
              <a:gd name="connsiteY181" fmla="*/ 2415998 h 3047524"/>
              <a:gd name="connsiteX182" fmla="*/ 1627678 w 2349032"/>
              <a:gd name="connsiteY182" fmla="*/ 1008488 h 3047524"/>
              <a:gd name="connsiteX183" fmla="*/ 1725024 w 2349032"/>
              <a:gd name="connsiteY183" fmla="*/ 891807 h 3047524"/>
              <a:gd name="connsiteX184" fmla="*/ 1627678 w 2349032"/>
              <a:gd name="connsiteY184" fmla="*/ 793319 h 3047524"/>
              <a:gd name="connsiteX185" fmla="*/ 1627678 w 2349032"/>
              <a:gd name="connsiteY185" fmla="*/ 1008488 h 3047524"/>
              <a:gd name="connsiteX186" fmla="*/ 710325 w 2349032"/>
              <a:gd name="connsiteY186" fmla="*/ 794652 h 3047524"/>
              <a:gd name="connsiteX187" fmla="*/ 612694 w 2349032"/>
              <a:gd name="connsiteY187" fmla="*/ 905237 h 3047524"/>
              <a:gd name="connsiteX188" fmla="*/ 710325 w 2349032"/>
              <a:gd name="connsiteY188" fmla="*/ 1005440 h 3047524"/>
              <a:gd name="connsiteX189" fmla="*/ 710325 w 2349032"/>
              <a:gd name="connsiteY189" fmla="*/ 794652 h 3047524"/>
              <a:gd name="connsiteX190" fmla="*/ 1077038 w 2349032"/>
              <a:gd name="connsiteY190" fmla="*/ 1982039 h 3047524"/>
              <a:gd name="connsiteX191" fmla="*/ 1206102 w 2349032"/>
              <a:gd name="connsiteY191" fmla="*/ 2044999 h 3047524"/>
              <a:gd name="connsiteX192" fmla="*/ 1274491 w 2349032"/>
              <a:gd name="connsiteY192" fmla="*/ 1983944 h 3047524"/>
              <a:gd name="connsiteX193" fmla="*/ 1173907 w 2349032"/>
              <a:gd name="connsiteY193" fmla="*/ 1912887 h 3047524"/>
              <a:gd name="connsiteX194" fmla="*/ 1077038 w 2349032"/>
              <a:gd name="connsiteY194" fmla="*/ 1982039 h 304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2349032" h="3047524">
                <a:moveTo>
                  <a:pt x="897777" y="1539221"/>
                </a:moveTo>
                <a:cubicBezTo>
                  <a:pt x="897777" y="1505503"/>
                  <a:pt x="900159" y="1472070"/>
                  <a:pt x="896730" y="1439114"/>
                </a:cubicBezTo>
                <a:cubicBezTo>
                  <a:pt x="895015" y="1422445"/>
                  <a:pt x="886919" y="1402157"/>
                  <a:pt x="874727" y="1391489"/>
                </a:cubicBezTo>
                <a:cubicBezTo>
                  <a:pt x="795574" y="1322242"/>
                  <a:pt x="744901" y="1237469"/>
                  <a:pt x="721279" y="1134885"/>
                </a:cubicBezTo>
                <a:cubicBezTo>
                  <a:pt x="717850" y="1119931"/>
                  <a:pt x="698800" y="1101643"/>
                  <a:pt x="683560" y="1097357"/>
                </a:cubicBezTo>
                <a:cubicBezTo>
                  <a:pt x="538494" y="1056875"/>
                  <a:pt x="481440" y="914762"/>
                  <a:pt x="559354" y="787032"/>
                </a:cubicBezTo>
                <a:cubicBezTo>
                  <a:pt x="569260" y="770840"/>
                  <a:pt x="572118" y="748837"/>
                  <a:pt x="573546" y="729215"/>
                </a:cubicBezTo>
                <a:cubicBezTo>
                  <a:pt x="580785" y="631489"/>
                  <a:pt x="572308" y="530238"/>
                  <a:pt x="595549" y="436607"/>
                </a:cubicBezTo>
                <a:cubicBezTo>
                  <a:pt x="652699" y="206388"/>
                  <a:pt x="805861" y="63894"/>
                  <a:pt x="1035890" y="4553"/>
                </a:cubicBezTo>
                <a:cubicBezTo>
                  <a:pt x="1067037" y="-3448"/>
                  <a:pt x="1095421" y="-4114"/>
                  <a:pt x="1105518" y="31414"/>
                </a:cubicBezTo>
                <a:cubicBezTo>
                  <a:pt x="1116757" y="70752"/>
                  <a:pt x="1088182" y="84087"/>
                  <a:pt x="1056369" y="92374"/>
                </a:cubicBezTo>
                <a:cubicBezTo>
                  <a:pt x="852057" y="145714"/>
                  <a:pt x="722422" y="274778"/>
                  <a:pt x="676035" y="480422"/>
                </a:cubicBezTo>
                <a:cubicBezTo>
                  <a:pt x="659938" y="552050"/>
                  <a:pt x="661748" y="627679"/>
                  <a:pt x="655366" y="701498"/>
                </a:cubicBezTo>
                <a:cubicBezTo>
                  <a:pt x="660795" y="705117"/>
                  <a:pt x="666225" y="708737"/>
                  <a:pt x="671749" y="712356"/>
                </a:cubicBezTo>
                <a:cubicBezTo>
                  <a:pt x="689751" y="699307"/>
                  <a:pt x="706801" y="684638"/>
                  <a:pt x="725946" y="673589"/>
                </a:cubicBezTo>
                <a:cubicBezTo>
                  <a:pt x="750616" y="659302"/>
                  <a:pt x="777191" y="636442"/>
                  <a:pt x="802527" y="636918"/>
                </a:cubicBezTo>
                <a:cubicBezTo>
                  <a:pt x="1002838" y="640252"/>
                  <a:pt x="1188099" y="592722"/>
                  <a:pt x="1358692" y="486804"/>
                </a:cubicBezTo>
                <a:cubicBezTo>
                  <a:pt x="1409842" y="455086"/>
                  <a:pt x="1441655" y="458991"/>
                  <a:pt x="1481469" y="502520"/>
                </a:cubicBezTo>
                <a:cubicBezTo>
                  <a:pt x="1530428" y="556051"/>
                  <a:pt x="1575672" y="612915"/>
                  <a:pt x="1622630" y="668255"/>
                </a:cubicBezTo>
                <a:cubicBezTo>
                  <a:pt x="1634536" y="682257"/>
                  <a:pt x="1646633" y="696068"/>
                  <a:pt x="1665302" y="717690"/>
                </a:cubicBezTo>
                <a:cubicBezTo>
                  <a:pt x="1714546" y="425558"/>
                  <a:pt x="1569766" y="185243"/>
                  <a:pt x="1324307" y="103899"/>
                </a:cubicBezTo>
                <a:cubicBezTo>
                  <a:pt x="1307829" y="98470"/>
                  <a:pt x="1290874" y="94184"/>
                  <a:pt x="1273920" y="89993"/>
                </a:cubicBezTo>
                <a:cubicBezTo>
                  <a:pt x="1243821" y="82563"/>
                  <a:pt x="1223342" y="65894"/>
                  <a:pt x="1231914" y="32938"/>
                </a:cubicBezTo>
                <a:cubicBezTo>
                  <a:pt x="1240392" y="458"/>
                  <a:pt x="1265728" y="-4114"/>
                  <a:pt x="1296113" y="2744"/>
                </a:cubicBezTo>
                <a:cubicBezTo>
                  <a:pt x="1448037" y="37415"/>
                  <a:pt x="1569385" y="117901"/>
                  <a:pt x="1658634" y="245441"/>
                </a:cubicBezTo>
                <a:cubicBezTo>
                  <a:pt x="1729596" y="346882"/>
                  <a:pt x="1764362" y="460515"/>
                  <a:pt x="1765696" y="584340"/>
                </a:cubicBezTo>
                <a:cubicBezTo>
                  <a:pt x="1766076" y="619297"/>
                  <a:pt x="1767029" y="654254"/>
                  <a:pt x="1765505" y="689115"/>
                </a:cubicBezTo>
                <a:cubicBezTo>
                  <a:pt x="1763600" y="732454"/>
                  <a:pt x="1771410" y="770744"/>
                  <a:pt x="1792747" y="810940"/>
                </a:cubicBezTo>
                <a:cubicBezTo>
                  <a:pt x="1852468" y="923716"/>
                  <a:pt x="1789794" y="1061066"/>
                  <a:pt x="1665302" y="1092880"/>
                </a:cubicBezTo>
                <a:cubicBezTo>
                  <a:pt x="1629869" y="1101929"/>
                  <a:pt x="1618248" y="1117645"/>
                  <a:pt x="1611009" y="1151554"/>
                </a:cubicBezTo>
                <a:cubicBezTo>
                  <a:pt x="1591674" y="1242518"/>
                  <a:pt x="1545001" y="1320051"/>
                  <a:pt x="1473945" y="1379868"/>
                </a:cubicBezTo>
                <a:cubicBezTo>
                  <a:pt x="1436321" y="1411586"/>
                  <a:pt x="1457562" y="1450353"/>
                  <a:pt x="1450513" y="1485596"/>
                </a:cubicBezTo>
                <a:cubicBezTo>
                  <a:pt x="1441084" y="1533125"/>
                  <a:pt x="1466420" y="1549508"/>
                  <a:pt x="1507473" y="1564653"/>
                </a:cubicBezTo>
                <a:cubicBezTo>
                  <a:pt x="1675113" y="1626661"/>
                  <a:pt x="1841419" y="1692383"/>
                  <a:pt x="2007821" y="1757630"/>
                </a:cubicBezTo>
                <a:cubicBezTo>
                  <a:pt x="2180986" y="1825543"/>
                  <a:pt x="2286332" y="1981086"/>
                  <a:pt x="2283856" y="2163109"/>
                </a:cubicBezTo>
                <a:cubicBezTo>
                  <a:pt x="2283475" y="2194065"/>
                  <a:pt x="2277093" y="2222640"/>
                  <a:pt x="2238136" y="2221688"/>
                </a:cubicBezTo>
                <a:cubicBezTo>
                  <a:pt x="2203465" y="2220830"/>
                  <a:pt x="2194606" y="2196161"/>
                  <a:pt x="2194130" y="2165681"/>
                </a:cubicBezTo>
                <a:cubicBezTo>
                  <a:pt x="2191558" y="1997945"/>
                  <a:pt x="2105833" y="1890789"/>
                  <a:pt x="1951814" y="1832687"/>
                </a:cubicBezTo>
                <a:cubicBezTo>
                  <a:pt x="1851230" y="1794777"/>
                  <a:pt x="1751313" y="1755248"/>
                  <a:pt x="1646823" y="1714767"/>
                </a:cubicBezTo>
                <a:cubicBezTo>
                  <a:pt x="1600151" y="1808017"/>
                  <a:pt x="1554240" y="1899552"/>
                  <a:pt x="1508616" y="1991183"/>
                </a:cubicBezTo>
                <a:cubicBezTo>
                  <a:pt x="1466230" y="2076241"/>
                  <a:pt x="1433749" y="2086623"/>
                  <a:pt x="1351739" y="2041189"/>
                </a:cubicBezTo>
                <a:cubicBezTo>
                  <a:pt x="1314020" y="2073002"/>
                  <a:pt x="1306876" y="2110912"/>
                  <a:pt x="1316592" y="2159585"/>
                </a:cubicBezTo>
                <a:cubicBezTo>
                  <a:pt x="1339166" y="2272837"/>
                  <a:pt x="1356406" y="2387232"/>
                  <a:pt x="1374504" y="2501342"/>
                </a:cubicBezTo>
                <a:cubicBezTo>
                  <a:pt x="1378885" y="2528869"/>
                  <a:pt x="1388505" y="2546300"/>
                  <a:pt x="1419271" y="2543823"/>
                </a:cubicBezTo>
                <a:cubicBezTo>
                  <a:pt x="1420795" y="2543728"/>
                  <a:pt x="1422414" y="2543918"/>
                  <a:pt x="1424034" y="2544204"/>
                </a:cubicBezTo>
                <a:cubicBezTo>
                  <a:pt x="1469849" y="2552491"/>
                  <a:pt x="1523094" y="2548109"/>
                  <a:pt x="1541191" y="2606783"/>
                </a:cubicBezTo>
                <a:cubicBezTo>
                  <a:pt x="1557288" y="2659076"/>
                  <a:pt x="1514807" y="2683079"/>
                  <a:pt x="1486899" y="2713845"/>
                </a:cubicBezTo>
                <a:cubicBezTo>
                  <a:pt x="1482993" y="2718226"/>
                  <a:pt x="1479184" y="2722703"/>
                  <a:pt x="1471087" y="2732132"/>
                </a:cubicBezTo>
                <a:cubicBezTo>
                  <a:pt x="1542620" y="2732132"/>
                  <a:pt x="1607866" y="2732132"/>
                  <a:pt x="1673113" y="2732132"/>
                </a:cubicBezTo>
                <a:cubicBezTo>
                  <a:pt x="1676732" y="2728608"/>
                  <a:pt x="1680256" y="2725084"/>
                  <a:pt x="1683876" y="2721560"/>
                </a:cubicBezTo>
                <a:cubicBezTo>
                  <a:pt x="1668159" y="2709653"/>
                  <a:pt x="1646443" y="2700986"/>
                  <a:pt x="1638156" y="2685270"/>
                </a:cubicBezTo>
                <a:cubicBezTo>
                  <a:pt x="1625011" y="2660409"/>
                  <a:pt x="1609009" y="2626976"/>
                  <a:pt x="1616343" y="2604402"/>
                </a:cubicBezTo>
                <a:cubicBezTo>
                  <a:pt x="1623582" y="2582209"/>
                  <a:pt x="1655968" y="2561635"/>
                  <a:pt x="1681590" y="2553348"/>
                </a:cubicBezTo>
                <a:cubicBezTo>
                  <a:pt x="1721595" y="2540394"/>
                  <a:pt x="1765219" y="2538489"/>
                  <a:pt x="1812273" y="2531060"/>
                </a:cubicBezTo>
                <a:cubicBezTo>
                  <a:pt x="1812273" y="2437810"/>
                  <a:pt x="1810558" y="2346084"/>
                  <a:pt x="1813797" y="2254454"/>
                </a:cubicBezTo>
                <a:cubicBezTo>
                  <a:pt x="1814368" y="2236928"/>
                  <a:pt x="1831323" y="2215592"/>
                  <a:pt x="1846848" y="2204733"/>
                </a:cubicBezTo>
                <a:cubicBezTo>
                  <a:pt x="1854373" y="2199494"/>
                  <a:pt x="1878567" y="2211591"/>
                  <a:pt x="1890378" y="2221592"/>
                </a:cubicBezTo>
                <a:cubicBezTo>
                  <a:pt x="1897807" y="2227879"/>
                  <a:pt x="1898379" y="2244738"/>
                  <a:pt x="1898569" y="2256930"/>
                </a:cubicBezTo>
                <a:cubicBezTo>
                  <a:pt x="1899522" y="2298173"/>
                  <a:pt x="1898950" y="2339321"/>
                  <a:pt x="1898950" y="2388947"/>
                </a:cubicBezTo>
                <a:cubicBezTo>
                  <a:pt x="1909523" y="2377707"/>
                  <a:pt x="1915047" y="2371611"/>
                  <a:pt x="1920667" y="2365706"/>
                </a:cubicBezTo>
                <a:cubicBezTo>
                  <a:pt x="1959815" y="2324843"/>
                  <a:pt x="2015536" y="2329701"/>
                  <a:pt x="2044206" y="2378279"/>
                </a:cubicBezTo>
                <a:cubicBezTo>
                  <a:pt x="2062685" y="2409521"/>
                  <a:pt x="2080592" y="2441906"/>
                  <a:pt x="2092689" y="2475910"/>
                </a:cubicBezTo>
                <a:cubicBezTo>
                  <a:pt x="2109929" y="2524392"/>
                  <a:pt x="2140504" y="2542680"/>
                  <a:pt x="2194321" y="2531345"/>
                </a:cubicBezTo>
                <a:cubicBezTo>
                  <a:pt x="2194321" y="2489721"/>
                  <a:pt x="2194511" y="2447145"/>
                  <a:pt x="2194225" y="2404472"/>
                </a:cubicBezTo>
                <a:cubicBezTo>
                  <a:pt x="2194035" y="2372564"/>
                  <a:pt x="2203084" y="2344751"/>
                  <a:pt x="2239279" y="2343989"/>
                </a:cubicBezTo>
                <a:cubicBezTo>
                  <a:pt x="2277474" y="2343227"/>
                  <a:pt x="2283094" y="2374088"/>
                  <a:pt x="2283951" y="2404282"/>
                </a:cubicBezTo>
                <a:cubicBezTo>
                  <a:pt x="2284808" y="2431238"/>
                  <a:pt x="2284522" y="2458289"/>
                  <a:pt x="2284236" y="2485245"/>
                </a:cubicBezTo>
                <a:cubicBezTo>
                  <a:pt x="2283856" y="2519725"/>
                  <a:pt x="2280141" y="2550681"/>
                  <a:pt x="2321670" y="2572493"/>
                </a:cubicBezTo>
                <a:cubicBezTo>
                  <a:pt x="2358532" y="2591829"/>
                  <a:pt x="2356817" y="2645931"/>
                  <a:pt x="2324527" y="2680983"/>
                </a:cubicBezTo>
                <a:cubicBezTo>
                  <a:pt x="2297667" y="2710130"/>
                  <a:pt x="2269568" y="2738514"/>
                  <a:pt x="2239088" y="2763755"/>
                </a:cubicBezTo>
                <a:cubicBezTo>
                  <a:pt x="2213752" y="2784710"/>
                  <a:pt x="2207656" y="2807856"/>
                  <a:pt x="2213275" y="2838622"/>
                </a:cubicBezTo>
                <a:cubicBezTo>
                  <a:pt x="2221276" y="2882151"/>
                  <a:pt x="2229849" y="2926062"/>
                  <a:pt x="2232135" y="2970162"/>
                </a:cubicBezTo>
                <a:cubicBezTo>
                  <a:pt x="2235278" y="3029979"/>
                  <a:pt x="2184986" y="3063888"/>
                  <a:pt x="2130027" y="3039599"/>
                </a:cubicBezTo>
                <a:cubicBezTo>
                  <a:pt x="2078115" y="3016739"/>
                  <a:pt x="2028300" y="2970067"/>
                  <a:pt x="1977246" y="2969591"/>
                </a:cubicBezTo>
                <a:cubicBezTo>
                  <a:pt x="1928192" y="2969114"/>
                  <a:pt x="1879614" y="3016549"/>
                  <a:pt x="1829132" y="3039123"/>
                </a:cubicBezTo>
                <a:cubicBezTo>
                  <a:pt x="1771125" y="3065031"/>
                  <a:pt x="1718451" y="3026455"/>
                  <a:pt x="1723976" y="2962542"/>
                </a:cubicBezTo>
                <a:cubicBezTo>
                  <a:pt x="1727596" y="2920156"/>
                  <a:pt x="1736644" y="2878151"/>
                  <a:pt x="1743979" y="2831859"/>
                </a:cubicBezTo>
                <a:cubicBezTo>
                  <a:pt x="1633203" y="2831859"/>
                  <a:pt x="1523665" y="2831859"/>
                  <a:pt x="1409460" y="2831859"/>
                </a:cubicBezTo>
                <a:cubicBezTo>
                  <a:pt x="1415747" y="2870245"/>
                  <a:pt x="1426510" y="2907392"/>
                  <a:pt x="1426225" y="2944349"/>
                </a:cubicBezTo>
                <a:cubicBezTo>
                  <a:pt x="1426034" y="2973305"/>
                  <a:pt x="1420509" y="3012548"/>
                  <a:pt x="1401650" y="3027979"/>
                </a:cubicBezTo>
                <a:cubicBezTo>
                  <a:pt x="1382981" y="3043314"/>
                  <a:pt x="1334689" y="3047696"/>
                  <a:pt x="1316497" y="3033980"/>
                </a:cubicBezTo>
                <a:cubicBezTo>
                  <a:pt x="1218580" y="2960351"/>
                  <a:pt x="1127806" y="2962256"/>
                  <a:pt x="1030651" y="3034932"/>
                </a:cubicBezTo>
                <a:cubicBezTo>
                  <a:pt x="1013030" y="3048172"/>
                  <a:pt x="966167" y="3044838"/>
                  <a:pt x="949022" y="3030265"/>
                </a:cubicBezTo>
                <a:cubicBezTo>
                  <a:pt x="929686" y="3013787"/>
                  <a:pt x="921971" y="2975972"/>
                  <a:pt x="921495" y="2947207"/>
                </a:cubicBezTo>
                <a:cubicBezTo>
                  <a:pt x="920923" y="2909964"/>
                  <a:pt x="932544" y="2872626"/>
                  <a:pt x="939592" y="2831288"/>
                </a:cubicBezTo>
                <a:cubicBezTo>
                  <a:pt x="826054" y="2831288"/>
                  <a:pt x="716136" y="2831288"/>
                  <a:pt x="604598" y="2831288"/>
                </a:cubicBezTo>
                <a:cubicBezTo>
                  <a:pt x="611551" y="2875007"/>
                  <a:pt x="620124" y="2916917"/>
                  <a:pt x="624315" y="2959304"/>
                </a:cubicBezTo>
                <a:cubicBezTo>
                  <a:pt x="631077" y="3027598"/>
                  <a:pt x="575547" y="3066460"/>
                  <a:pt x="513158" y="3037123"/>
                </a:cubicBezTo>
                <a:cubicBezTo>
                  <a:pt x="464485" y="3014263"/>
                  <a:pt x="417336" y="2969019"/>
                  <a:pt x="369521" y="2969019"/>
                </a:cubicBezTo>
                <a:cubicBezTo>
                  <a:pt x="321705" y="2969019"/>
                  <a:pt x="274557" y="3014168"/>
                  <a:pt x="225884" y="3037123"/>
                </a:cubicBezTo>
                <a:cubicBezTo>
                  <a:pt x="164162" y="3066174"/>
                  <a:pt x="112251" y="3031789"/>
                  <a:pt x="116442" y="2963590"/>
                </a:cubicBezTo>
                <a:cubicBezTo>
                  <a:pt x="119299" y="2917965"/>
                  <a:pt x="131682" y="2872817"/>
                  <a:pt x="134158" y="2827192"/>
                </a:cubicBezTo>
                <a:cubicBezTo>
                  <a:pt x="135206" y="2808428"/>
                  <a:pt x="125681" y="2785282"/>
                  <a:pt x="113394" y="2770518"/>
                </a:cubicBezTo>
                <a:cubicBezTo>
                  <a:pt x="89200" y="2741372"/>
                  <a:pt x="59101" y="2717178"/>
                  <a:pt x="32526" y="2689937"/>
                </a:cubicBezTo>
                <a:cubicBezTo>
                  <a:pt x="-14718" y="2641645"/>
                  <a:pt x="-9765" y="2599259"/>
                  <a:pt x="42623" y="2558682"/>
                </a:cubicBezTo>
                <a:cubicBezTo>
                  <a:pt x="54624" y="2549348"/>
                  <a:pt x="62911" y="2528012"/>
                  <a:pt x="63197" y="2512010"/>
                </a:cubicBezTo>
                <a:cubicBezTo>
                  <a:pt x="65864" y="2385041"/>
                  <a:pt x="62816" y="2257883"/>
                  <a:pt x="67864" y="2131105"/>
                </a:cubicBezTo>
                <a:cubicBezTo>
                  <a:pt x="75389" y="1943367"/>
                  <a:pt x="180450" y="1822971"/>
                  <a:pt x="348280" y="1754677"/>
                </a:cubicBezTo>
                <a:cubicBezTo>
                  <a:pt x="515253" y="1686764"/>
                  <a:pt x="684608" y="1624565"/>
                  <a:pt x="852819" y="1559605"/>
                </a:cubicBezTo>
                <a:cubicBezTo>
                  <a:pt x="867774" y="1554271"/>
                  <a:pt x="881680" y="1546746"/>
                  <a:pt x="897777" y="1539221"/>
                </a:cubicBezTo>
                <a:close/>
                <a:moveTo>
                  <a:pt x="701467" y="1714577"/>
                </a:moveTo>
                <a:cubicBezTo>
                  <a:pt x="579928" y="1761916"/>
                  <a:pt x="461437" y="1802683"/>
                  <a:pt x="347804" y="1854023"/>
                </a:cubicBezTo>
                <a:cubicBezTo>
                  <a:pt x="249220" y="1898600"/>
                  <a:pt x="173592" y="1976514"/>
                  <a:pt x="165686" y="2087195"/>
                </a:cubicBezTo>
                <a:cubicBezTo>
                  <a:pt x="155113" y="2235023"/>
                  <a:pt x="163114" y="2384279"/>
                  <a:pt x="163114" y="2532965"/>
                </a:cubicBezTo>
                <a:cubicBezTo>
                  <a:pt x="226360" y="2534012"/>
                  <a:pt x="226265" y="2534012"/>
                  <a:pt x="255507" y="2475338"/>
                </a:cubicBezTo>
                <a:cubicBezTo>
                  <a:pt x="271699" y="2442763"/>
                  <a:pt x="286368" y="2409235"/>
                  <a:pt x="304846" y="2377993"/>
                </a:cubicBezTo>
                <a:cubicBezTo>
                  <a:pt x="332278" y="2331416"/>
                  <a:pt x="387618" y="2325034"/>
                  <a:pt x="424861" y="2363039"/>
                </a:cubicBezTo>
                <a:cubicBezTo>
                  <a:pt x="431624" y="2369897"/>
                  <a:pt x="434196" y="2380850"/>
                  <a:pt x="438672" y="2389994"/>
                </a:cubicBezTo>
                <a:cubicBezTo>
                  <a:pt x="449912" y="2335892"/>
                  <a:pt x="445816" y="2290839"/>
                  <a:pt x="451912" y="2247310"/>
                </a:cubicBezTo>
                <a:cubicBezTo>
                  <a:pt x="454293" y="2230260"/>
                  <a:pt x="479630" y="2216449"/>
                  <a:pt x="494394" y="2201114"/>
                </a:cubicBezTo>
                <a:cubicBezTo>
                  <a:pt x="508300" y="2215877"/>
                  <a:pt x="525826" y="2228831"/>
                  <a:pt x="534780" y="2246167"/>
                </a:cubicBezTo>
                <a:cubicBezTo>
                  <a:pt x="541257" y="2258740"/>
                  <a:pt x="536494" y="2277314"/>
                  <a:pt x="536494" y="2293125"/>
                </a:cubicBezTo>
                <a:cubicBezTo>
                  <a:pt x="536494" y="2372183"/>
                  <a:pt x="536494" y="2451145"/>
                  <a:pt x="536494" y="2530964"/>
                </a:cubicBezTo>
                <a:cubicBezTo>
                  <a:pt x="582309" y="2538299"/>
                  <a:pt x="624219" y="2540585"/>
                  <a:pt x="662986" y="2552777"/>
                </a:cubicBezTo>
                <a:cubicBezTo>
                  <a:pt x="689085" y="2561063"/>
                  <a:pt x="719469" y="2578304"/>
                  <a:pt x="732423" y="2600592"/>
                </a:cubicBezTo>
                <a:cubicBezTo>
                  <a:pt x="750140" y="2631072"/>
                  <a:pt x="735757" y="2664886"/>
                  <a:pt x="708135" y="2689746"/>
                </a:cubicBezTo>
                <a:cubicBezTo>
                  <a:pt x="694895" y="2701653"/>
                  <a:pt x="683179" y="2715178"/>
                  <a:pt x="666796" y="2732037"/>
                </a:cubicBezTo>
                <a:cubicBezTo>
                  <a:pt x="740996" y="2732037"/>
                  <a:pt x="806242" y="2732037"/>
                  <a:pt x="875013" y="2732037"/>
                </a:cubicBezTo>
                <a:cubicBezTo>
                  <a:pt x="869679" y="2724322"/>
                  <a:pt x="867488" y="2720417"/>
                  <a:pt x="864630" y="2717083"/>
                </a:cubicBezTo>
                <a:cubicBezTo>
                  <a:pt x="836722" y="2684698"/>
                  <a:pt x="790526" y="2661076"/>
                  <a:pt x="807957" y="2606403"/>
                </a:cubicBezTo>
                <a:cubicBezTo>
                  <a:pt x="827388" y="2545442"/>
                  <a:pt x="882823" y="2549919"/>
                  <a:pt x="930162" y="2544871"/>
                </a:cubicBezTo>
                <a:cubicBezTo>
                  <a:pt x="957690" y="2541918"/>
                  <a:pt x="969405" y="2530964"/>
                  <a:pt x="973501" y="2505342"/>
                </a:cubicBezTo>
                <a:cubicBezTo>
                  <a:pt x="992456" y="2388185"/>
                  <a:pt x="1009315" y="2270551"/>
                  <a:pt x="1032556" y="2154155"/>
                </a:cubicBezTo>
                <a:cubicBezTo>
                  <a:pt x="1042176" y="2106054"/>
                  <a:pt x="1030842" y="2071859"/>
                  <a:pt x="996647" y="2041284"/>
                </a:cubicBezTo>
                <a:cubicBezTo>
                  <a:pt x="914732" y="2086718"/>
                  <a:pt x="881871" y="2075955"/>
                  <a:pt x="839294" y="1990611"/>
                </a:cubicBezTo>
                <a:cubicBezTo>
                  <a:pt x="794145" y="1900028"/>
                  <a:pt x="748902" y="1809541"/>
                  <a:pt x="701467" y="1714577"/>
                </a:cubicBezTo>
                <a:close/>
                <a:moveTo>
                  <a:pt x="802908" y="723119"/>
                </a:moveTo>
                <a:cubicBezTo>
                  <a:pt x="802908" y="833514"/>
                  <a:pt x="802527" y="936575"/>
                  <a:pt x="803004" y="1039540"/>
                </a:cubicBezTo>
                <a:cubicBezTo>
                  <a:pt x="803956" y="1246328"/>
                  <a:pt x="964452" y="1404538"/>
                  <a:pt x="1173431" y="1405014"/>
                </a:cubicBezTo>
                <a:cubicBezTo>
                  <a:pt x="1372122" y="1405490"/>
                  <a:pt x="1531285" y="1248423"/>
                  <a:pt x="1534809" y="1046207"/>
                </a:cubicBezTo>
                <a:cubicBezTo>
                  <a:pt x="1536714" y="938289"/>
                  <a:pt x="1535667" y="830276"/>
                  <a:pt x="1534714" y="722357"/>
                </a:cubicBezTo>
                <a:cubicBezTo>
                  <a:pt x="1534619" y="707594"/>
                  <a:pt x="1530904" y="689306"/>
                  <a:pt x="1521855" y="678828"/>
                </a:cubicBezTo>
                <a:cubicBezTo>
                  <a:pt x="1486804" y="638347"/>
                  <a:pt x="1448894" y="600342"/>
                  <a:pt x="1411270" y="560623"/>
                </a:cubicBezTo>
                <a:cubicBezTo>
                  <a:pt x="1224866" y="675399"/>
                  <a:pt x="1025984" y="733978"/>
                  <a:pt x="802908" y="723119"/>
                </a:cubicBezTo>
                <a:close/>
                <a:moveTo>
                  <a:pt x="1439464" y="2644979"/>
                </a:moveTo>
                <a:cubicBezTo>
                  <a:pt x="1368217" y="2627643"/>
                  <a:pt x="1303733" y="2627834"/>
                  <a:pt x="1261728" y="2597163"/>
                </a:cubicBezTo>
                <a:cubicBezTo>
                  <a:pt x="1220580" y="2567064"/>
                  <a:pt x="1202387" y="2505628"/>
                  <a:pt x="1165811" y="2443906"/>
                </a:cubicBezTo>
                <a:cubicBezTo>
                  <a:pt x="1139712" y="2590400"/>
                  <a:pt x="1051606" y="2643074"/>
                  <a:pt x="906731" y="2630310"/>
                </a:cubicBezTo>
                <a:cubicBezTo>
                  <a:pt x="948641" y="2671934"/>
                  <a:pt x="976168" y="2699938"/>
                  <a:pt x="1004457" y="2727179"/>
                </a:cubicBezTo>
                <a:cubicBezTo>
                  <a:pt x="1031699" y="2753278"/>
                  <a:pt x="1043891" y="2781853"/>
                  <a:pt x="1034175" y="2821001"/>
                </a:cubicBezTo>
                <a:cubicBezTo>
                  <a:pt x="1024555" y="2859577"/>
                  <a:pt x="1021031" y="2899677"/>
                  <a:pt x="1012173" y="2956256"/>
                </a:cubicBezTo>
                <a:cubicBezTo>
                  <a:pt x="1123234" y="2851957"/>
                  <a:pt x="1227914" y="2856815"/>
                  <a:pt x="1336880" y="2946540"/>
                </a:cubicBezTo>
                <a:cubicBezTo>
                  <a:pt x="1287350" y="2817476"/>
                  <a:pt x="1311163" y="2716702"/>
                  <a:pt x="1439464" y="2644979"/>
                </a:cubicBezTo>
                <a:close/>
                <a:moveTo>
                  <a:pt x="529827" y="2942635"/>
                </a:moveTo>
                <a:cubicBezTo>
                  <a:pt x="479535" y="2812333"/>
                  <a:pt x="510586" y="2714892"/>
                  <a:pt x="627267" y="2643169"/>
                </a:cubicBezTo>
                <a:cubicBezTo>
                  <a:pt x="602502" y="2634406"/>
                  <a:pt x="584691" y="2629358"/>
                  <a:pt x="566784" y="2628977"/>
                </a:cubicBezTo>
                <a:cubicBezTo>
                  <a:pt x="488679" y="2627357"/>
                  <a:pt x="429528" y="2600021"/>
                  <a:pt x="404382" y="2519153"/>
                </a:cubicBezTo>
                <a:cubicBezTo>
                  <a:pt x="397429" y="2496770"/>
                  <a:pt x="382761" y="2476862"/>
                  <a:pt x="371902" y="2456193"/>
                </a:cubicBezTo>
                <a:cubicBezTo>
                  <a:pt x="339803" y="2508200"/>
                  <a:pt x="319991" y="2569445"/>
                  <a:pt x="277890" y="2600211"/>
                </a:cubicBezTo>
                <a:cubicBezTo>
                  <a:pt x="237028" y="2630024"/>
                  <a:pt x="173211" y="2628405"/>
                  <a:pt x="103488" y="2644217"/>
                </a:cubicBezTo>
                <a:cubicBezTo>
                  <a:pt x="232075" y="2716130"/>
                  <a:pt x="256935" y="2815571"/>
                  <a:pt x="209120" y="2944254"/>
                </a:cubicBezTo>
                <a:cubicBezTo>
                  <a:pt x="317610" y="2856243"/>
                  <a:pt x="419527" y="2852909"/>
                  <a:pt x="529827" y="2942635"/>
                </a:cubicBezTo>
                <a:close/>
                <a:moveTo>
                  <a:pt x="2139266" y="2942825"/>
                </a:moveTo>
                <a:cubicBezTo>
                  <a:pt x="2087736" y="2811952"/>
                  <a:pt x="2121550" y="2715273"/>
                  <a:pt x="2238421" y="2638216"/>
                </a:cubicBezTo>
                <a:cubicBezTo>
                  <a:pt x="2097928" y="2644598"/>
                  <a:pt x="2013346" y="2585162"/>
                  <a:pt x="1986390" y="2445716"/>
                </a:cubicBezTo>
                <a:cubicBezTo>
                  <a:pt x="1950861" y="2505056"/>
                  <a:pt x="1932097" y="2566969"/>
                  <a:pt x="1890378" y="2597544"/>
                </a:cubicBezTo>
                <a:cubicBezTo>
                  <a:pt x="1848372" y="2628310"/>
                  <a:pt x="1783602" y="2627929"/>
                  <a:pt x="1712451" y="2645169"/>
                </a:cubicBezTo>
                <a:cubicBezTo>
                  <a:pt x="1843991" y="2715273"/>
                  <a:pt x="1863517" y="2816333"/>
                  <a:pt x="1819035" y="2943968"/>
                </a:cubicBezTo>
                <a:cubicBezTo>
                  <a:pt x="1927239" y="2855481"/>
                  <a:pt x="2029157" y="2853576"/>
                  <a:pt x="2139266" y="2942825"/>
                </a:cubicBezTo>
                <a:close/>
                <a:moveTo>
                  <a:pt x="1174193" y="1784585"/>
                </a:moveTo>
                <a:cubicBezTo>
                  <a:pt x="1224104" y="1723054"/>
                  <a:pt x="1266490" y="1663427"/>
                  <a:pt x="1316687" y="1611135"/>
                </a:cubicBezTo>
                <a:cubicBezTo>
                  <a:pt x="1359550" y="1566463"/>
                  <a:pt x="1362979" y="1517790"/>
                  <a:pt x="1354025" y="1459307"/>
                </a:cubicBezTo>
                <a:cubicBezTo>
                  <a:pt x="1234963" y="1508360"/>
                  <a:pt x="1115709" y="1505122"/>
                  <a:pt x="984455" y="1459973"/>
                </a:cubicBezTo>
                <a:cubicBezTo>
                  <a:pt x="991694" y="1504455"/>
                  <a:pt x="986931" y="1546079"/>
                  <a:pt x="1004838" y="1571987"/>
                </a:cubicBezTo>
                <a:cubicBezTo>
                  <a:pt x="1055035" y="1644663"/>
                  <a:pt x="1114471" y="1710862"/>
                  <a:pt x="1174193" y="1784585"/>
                </a:cubicBezTo>
                <a:close/>
                <a:moveTo>
                  <a:pt x="1416604" y="1973657"/>
                </a:moveTo>
                <a:cubicBezTo>
                  <a:pt x="1466230" y="1873739"/>
                  <a:pt x="1513093" y="1779347"/>
                  <a:pt x="1561289" y="1682192"/>
                </a:cubicBezTo>
                <a:cubicBezTo>
                  <a:pt x="1511568" y="1662665"/>
                  <a:pt x="1466420" y="1645044"/>
                  <a:pt x="1418985" y="1626470"/>
                </a:cubicBezTo>
                <a:cubicBezTo>
                  <a:pt x="1359550" y="1699908"/>
                  <a:pt x="1301161" y="1771917"/>
                  <a:pt x="1240011" y="1847450"/>
                </a:cubicBezTo>
                <a:cubicBezTo>
                  <a:pt x="1299351" y="1889932"/>
                  <a:pt x="1355549" y="1930127"/>
                  <a:pt x="1416604" y="1973657"/>
                </a:cubicBezTo>
                <a:close/>
                <a:moveTo>
                  <a:pt x="1107518" y="1847069"/>
                </a:moveTo>
                <a:cubicBezTo>
                  <a:pt x="1051225" y="1777251"/>
                  <a:pt x="998076" y="1710767"/>
                  <a:pt x="943878" y="1645139"/>
                </a:cubicBezTo>
                <a:cubicBezTo>
                  <a:pt x="937973" y="1637900"/>
                  <a:pt x="924162" y="1629328"/>
                  <a:pt x="917685" y="1631709"/>
                </a:cubicBezTo>
                <a:cubicBezTo>
                  <a:pt x="874346" y="1647140"/>
                  <a:pt x="832055" y="1665332"/>
                  <a:pt x="787097" y="1683525"/>
                </a:cubicBezTo>
                <a:cubicBezTo>
                  <a:pt x="837198" y="1783538"/>
                  <a:pt x="884061" y="1877168"/>
                  <a:pt x="932163" y="1973085"/>
                </a:cubicBezTo>
                <a:cubicBezTo>
                  <a:pt x="982359" y="1937557"/>
                  <a:pt x="1027508" y="1905839"/>
                  <a:pt x="1072561" y="1873835"/>
                </a:cubicBezTo>
                <a:cubicBezTo>
                  <a:pt x="1082753" y="1866500"/>
                  <a:pt x="1092468" y="1858595"/>
                  <a:pt x="1107518" y="1847069"/>
                </a:cubicBezTo>
                <a:close/>
                <a:moveTo>
                  <a:pt x="1078562" y="2415998"/>
                </a:moveTo>
                <a:cubicBezTo>
                  <a:pt x="1129521" y="2322462"/>
                  <a:pt x="1200672" y="2297221"/>
                  <a:pt x="1272205" y="2429428"/>
                </a:cubicBezTo>
                <a:cubicBezTo>
                  <a:pt x="1254013" y="2323129"/>
                  <a:pt x="1238010" y="2229498"/>
                  <a:pt x="1222104" y="2136153"/>
                </a:cubicBezTo>
                <a:cubicBezTo>
                  <a:pt x="1187528" y="2136153"/>
                  <a:pt x="1159334" y="2136153"/>
                  <a:pt x="1126473" y="2136153"/>
                </a:cubicBezTo>
                <a:cubicBezTo>
                  <a:pt x="1110376" y="2229974"/>
                  <a:pt x="1094469" y="2322938"/>
                  <a:pt x="1078562" y="2415998"/>
                </a:cubicBezTo>
                <a:close/>
                <a:moveTo>
                  <a:pt x="1627678" y="1008488"/>
                </a:moveTo>
                <a:cubicBezTo>
                  <a:pt x="1694639" y="990105"/>
                  <a:pt x="1729119" y="946385"/>
                  <a:pt x="1725024" y="891807"/>
                </a:cubicBezTo>
                <a:cubicBezTo>
                  <a:pt x="1720928" y="837705"/>
                  <a:pt x="1685305" y="800939"/>
                  <a:pt x="1627678" y="793319"/>
                </a:cubicBezTo>
                <a:cubicBezTo>
                  <a:pt x="1627678" y="863899"/>
                  <a:pt x="1627678" y="934098"/>
                  <a:pt x="1627678" y="1008488"/>
                </a:cubicBezTo>
                <a:close/>
                <a:moveTo>
                  <a:pt x="710325" y="794652"/>
                </a:moveTo>
                <a:cubicBezTo>
                  <a:pt x="646889" y="810368"/>
                  <a:pt x="610027" y="852945"/>
                  <a:pt x="612694" y="905237"/>
                </a:cubicBezTo>
                <a:cubicBezTo>
                  <a:pt x="615361" y="956958"/>
                  <a:pt x="652318" y="996011"/>
                  <a:pt x="710325" y="1005440"/>
                </a:cubicBezTo>
                <a:cubicBezTo>
                  <a:pt x="710325" y="935051"/>
                  <a:pt x="710325" y="865137"/>
                  <a:pt x="710325" y="794652"/>
                </a:cubicBezTo>
                <a:close/>
                <a:moveTo>
                  <a:pt x="1077038" y="1982039"/>
                </a:moveTo>
                <a:cubicBezTo>
                  <a:pt x="1094374" y="2060525"/>
                  <a:pt x="1154381" y="2042618"/>
                  <a:pt x="1206102" y="2044999"/>
                </a:cubicBezTo>
                <a:cubicBezTo>
                  <a:pt x="1250964" y="2047094"/>
                  <a:pt x="1255441" y="2010614"/>
                  <a:pt x="1274491" y="1983944"/>
                </a:cubicBezTo>
                <a:cubicBezTo>
                  <a:pt x="1238963" y="1958798"/>
                  <a:pt x="1206959" y="1936128"/>
                  <a:pt x="1173907" y="1912887"/>
                </a:cubicBezTo>
                <a:cubicBezTo>
                  <a:pt x="1139808" y="1937176"/>
                  <a:pt x="1107804" y="1960036"/>
                  <a:pt x="1077038" y="1982039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F29CBAC6-CD2F-7F0D-B1FF-676DE2C5564D}"/>
              </a:ext>
            </a:extLst>
          </p:cNvPr>
          <p:cNvSpPr>
            <a:spLocks noChangeAspect="1"/>
          </p:cNvSpPr>
          <p:nvPr/>
        </p:nvSpPr>
        <p:spPr>
          <a:xfrm>
            <a:off x="7477573" y="5376899"/>
            <a:ext cx="332599" cy="33259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Graphic 616">
            <a:extLst>
              <a:ext uri="{FF2B5EF4-FFF2-40B4-BE49-F238E27FC236}">
                <a16:creationId xmlns:a16="http://schemas.microsoft.com/office/drawing/2014/main" id="{4413271A-760B-6CC0-052D-1A28C142600C}"/>
              </a:ext>
            </a:extLst>
          </p:cNvPr>
          <p:cNvSpPr>
            <a:spLocks noChangeAspect="1"/>
          </p:cNvSpPr>
          <p:nvPr/>
        </p:nvSpPr>
        <p:spPr>
          <a:xfrm>
            <a:off x="7563097" y="5423460"/>
            <a:ext cx="161550" cy="239477"/>
          </a:xfrm>
          <a:custGeom>
            <a:avLst/>
            <a:gdLst>
              <a:gd name="connsiteX0" fmla="*/ 927540 w 2057465"/>
              <a:gd name="connsiteY0" fmla="*/ 2960865 h 3049930"/>
              <a:gd name="connsiteX1" fmla="*/ 802953 w 2057465"/>
              <a:gd name="connsiteY1" fmla="*/ 2823610 h 3049930"/>
              <a:gd name="connsiteX2" fmla="*/ 771235 w 2057465"/>
              <a:gd name="connsiteY2" fmla="*/ 2710358 h 3049930"/>
              <a:gd name="connsiteX3" fmla="*/ 891345 w 2057465"/>
              <a:gd name="connsiteY3" fmla="*/ 2013509 h 3049930"/>
              <a:gd name="connsiteX4" fmla="*/ 863818 w 2057465"/>
              <a:gd name="connsiteY4" fmla="*/ 1902828 h 3049930"/>
              <a:gd name="connsiteX5" fmla="*/ 715037 w 2057465"/>
              <a:gd name="connsiteY5" fmla="*/ 1848536 h 3049930"/>
              <a:gd name="connsiteX6" fmla="*/ 589974 w 2057465"/>
              <a:gd name="connsiteY6" fmla="*/ 1598790 h 3049930"/>
              <a:gd name="connsiteX7" fmla="*/ 258599 w 2057465"/>
              <a:gd name="connsiteY7" fmla="*/ 1731569 h 3049930"/>
              <a:gd name="connsiteX8" fmla="*/ 94103 w 2057465"/>
              <a:gd name="connsiteY8" fmla="*/ 1980266 h 3049930"/>
              <a:gd name="connsiteX9" fmla="*/ 90769 w 2057465"/>
              <a:gd name="connsiteY9" fmla="*/ 2565864 h 3049930"/>
              <a:gd name="connsiteX10" fmla="*/ 90769 w 2057465"/>
              <a:gd name="connsiteY10" fmla="*/ 2899239 h 3049930"/>
              <a:gd name="connsiteX11" fmla="*/ 153539 w 2057465"/>
              <a:gd name="connsiteY11" fmla="*/ 2960389 h 3049930"/>
              <a:gd name="connsiteX12" fmla="*/ 352992 w 2057465"/>
              <a:gd name="connsiteY12" fmla="*/ 2960389 h 3049930"/>
              <a:gd name="connsiteX13" fmla="*/ 352992 w 2057465"/>
              <a:gd name="connsiteY13" fmla="*/ 2899429 h 3049930"/>
              <a:gd name="connsiteX14" fmla="*/ 352992 w 2057465"/>
              <a:gd name="connsiteY14" fmla="*/ 2123237 h 3049930"/>
              <a:gd name="connsiteX15" fmla="*/ 354802 w 2057465"/>
              <a:gd name="connsiteY15" fmla="*/ 2081136 h 3049930"/>
              <a:gd name="connsiteX16" fmla="*/ 396426 w 2057465"/>
              <a:gd name="connsiteY16" fmla="*/ 2041131 h 3049930"/>
              <a:gd name="connsiteX17" fmla="*/ 444432 w 2057465"/>
              <a:gd name="connsiteY17" fmla="*/ 2080469 h 3049930"/>
              <a:gd name="connsiteX18" fmla="*/ 446528 w 2057465"/>
              <a:gd name="connsiteY18" fmla="*/ 2122475 h 3049930"/>
              <a:gd name="connsiteX19" fmla="*/ 446528 w 2057465"/>
              <a:gd name="connsiteY19" fmla="*/ 2903429 h 3049930"/>
              <a:gd name="connsiteX20" fmla="*/ 446528 w 2057465"/>
              <a:gd name="connsiteY20" fmla="*/ 2960579 h 3049930"/>
              <a:gd name="connsiteX21" fmla="*/ 530538 w 2057465"/>
              <a:gd name="connsiteY21" fmla="*/ 2960484 h 3049930"/>
              <a:gd name="connsiteX22" fmla="*/ 582259 w 2057465"/>
              <a:gd name="connsiteY22" fmla="*/ 3002490 h 3049930"/>
              <a:gd name="connsiteX23" fmla="*/ 533777 w 2057465"/>
              <a:gd name="connsiteY23" fmla="*/ 3048209 h 3049930"/>
              <a:gd name="connsiteX24" fmla="*/ 110009 w 2057465"/>
              <a:gd name="connsiteY24" fmla="*/ 3047448 h 3049930"/>
              <a:gd name="connsiteX25" fmla="*/ 472 w 2057465"/>
              <a:gd name="connsiteY25" fmla="*/ 2922670 h 3049930"/>
              <a:gd name="connsiteX26" fmla="*/ 186 w 2057465"/>
              <a:gd name="connsiteY26" fmla="*/ 2413178 h 3049930"/>
              <a:gd name="connsiteX27" fmla="*/ 281 w 2057465"/>
              <a:gd name="connsiteY27" fmla="*/ 2017985 h 3049930"/>
              <a:gd name="connsiteX28" fmla="*/ 270029 w 2057465"/>
              <a:gd name="connsiteY28" fmla="*/ 1627365 h 3049930"/>
              <a:gd name="connsiteX29" fmla="*/ 725515 w 2057465"/>
              <a:gd name="connsiteY29" fmla="*/ 1450200 h 3049930"/>
              <a:gd name="connsiteX30" fmla="*/ 753614 w 2057465"/>
              <a:gd name="connsiteY30" fmla="*/ 1303229 h 3049930"/>
              <a:gd name="connsiteX31" fmla="*/ 606262 w 2057465"/>
              <a:gd name="connsiteY31" fmla="*/ 1054817 h 3049930"/>
              <a:gd name="connsiteX32" fmla="*/ 574448 w 2057465"/>
              <a:gd name="connsiteY32" fmla="*/ 1029195 h 3049930"/>
              <a:gd name="connsiteX33" fmla="*/ 452624 w 2057465"/>
              <a:gd name="connsiteY33" fmla="*/ 744779 h 3049930"/>
              <a:gd name="connsiteX34" fmla="*/ 467102 w 2057465"/>
              <a:gd name="connsiteY34" fmla="*/ 677627 h 3049930"/>
              <a:gd name="connsiteX35" fmla="*/ 511107 w 2057465"/>
              <a:gd name="connsiteY35" fmla="*/ 345395 h 3049930"/>
              <a:gd name="connsiteX36" fmla="*/ 1080702 w 2057465"/>
              <a:gd name="connsiteY36" fmla="*/ 3924 h 3049930"/>
              <a:gd name="connsiteX37" fmla="*/ 1573621 w 2057465"/>
              <a:gd name="connsiteY37" fmla="*/ 502272 h 3049930"/>
              <a:gd name="connsiteX38" fmla="*/ 1577812 w 2057465"/>
              <a:gd name="connsiteY38" fmla="*/ 616382 h 3049930"/>
              <a:gd name="connsiteX39" fmla="*/ 1606006 w 2057465"/>
              <a:gd name="connsiteY39" fmla="*/ 771639 h 3049930"/>
              <a:gd name="connsiteX40" fmla="*/ 1477228 w 2057465"/>
              <a:gd name="connsiteY40" fmla="*/ 1028909 h 3049930"/>
              <a:gd name="connsiteX41" fmla="*/ 1438937 w 2057465"/>
              <a:gd name="connsiteY41" fmla="*/ 1064438 h 3049930"/>
              <a:gd name="connsiteX42" fmla="*/ 1309588 w 2057465"/>
              <a:gd name="connsiteY42" fmla="*/ 1286656 h 3049930"/>
              <a:gd name="connsiteX43" fmla="*/ 1288728 w 2057465"/>
              <a:gd name="connsiteY43" fmla="*/ 1415815 h 3049930"/>
              <a:gd name="connsiteX44" fmla="*/ 1339211 w 2057465"/>
              <a:gd name="connsiteY44" fmla="*/ 1453248 h 3049930"/>
              <a:gd name="connsiteX45" fmla="*/ 1790315 w 2057465"/>
              <a:gd name="connsiteY45" fmla="*/ 1628508 h 3049930"/>
              <a:gd name="connsiteX46" fmla="*/ 2055872 w 2057465"/>
              <a:gd name="connsiteY46" fmla="*/ 2008079 h 3049930"/>
              <a:gd name="connsiteX47" fmla="*/ 2056348 w 2057465"/>
              <a:gd name="connsiteY47" fmla="*/ 2284304 h 3049930"/>
              <a:gd name="connsiteX48" fmla="*/ 2011485 w 2057465"/>
              <a:gd name="connsiteY48" fmla="*/ 2350122 h 3049930"/>
              <a:gd name="connsiteX49" fmla="*/ 1965670 w 2057465"/>
              <a:gd name="connsiteY49" fmla="*/ 2285638 h 3049930"/>
              <a:gd name="connsiteX50" fmla="*/ 1962146 w 2057465"/>
              <a:gd name="connsiteY50" fmla="*/ 1981028 h 3049930"/>
              <a:gd name="connsiteX51" fmla="*/ 1768312 w 2057465"/>
              <a:gd name="connsiteY51" fmla="*/ 1717376 h 3049930"/>
              <a:gd name="connsiteX52" fmla="*/ 1465703 w 2057465"/>
              <a:gd name="connsiteY52" fmla="*/ 1599647 h 3049930"/>
              <a:gd name="connsiteX53" fmla="*/ 1388074 w 2057465"/>
              <a:gd name="connsiteY53" fmla="*/ 1754714 h 3049930"/>
              <a:gd name="connsiteX54" fmla="*/ 1339306 w 2057465"/>
              <a:gd name="connsiteY54" fmla="*/ 1852441 h 3049930"/>
              <a:gd name="connsiteX55" fmla="*/ 1192335 w 2057465"/>
              <a:gd name="connsiteY55" fmla="*/ 1902638 h 3049930"/>
              <a:gd name="connsiteX56" fmla="*/ 1161950 w 2057465"/>
              <a:gd name="connsiteY56" fmla="*/ 1994173 h 3049930"/>
              <a:gd name="connsiteX57" fmla="*/ 1251962 w 2057465"/>
              <a:gd name="connsiteY57" fmla="*/ 2522906 h 3049930"/>
              <a:gd name="connsiteX58" fmla="*/ 1286156 w 2057465"/>
              <a:gd name="connsiteY58" fmla="*/ 2724074 h 3049930"/>
              <a:gd name="connsiteX59" fmla="*/ 1256629 w 2057465"/>
              <a:gd name="connsiteY59" fmla="*/ 2819514 h 3049930"/>
              <a:gd name="connsiteX60" fmla="*/ 1128899 w 2057465"/>
              <a:gd name="connsiteY60" fmla="*/ 2960579 h 3049930"/>
              <a:gd name="connsiteX61" fmla="*/ 1369024 w 2057465"/>
              <a:gd name="connsiteY61" fmla="*/ 2960579 h 3049930"/>
              <a:gd name="connsiteX62" fmla="*/ 1609816 w 2057465"/>
              <a:gd name="connsiteY62" fmla="*/ 2960579 h 3049930"/>
              <a:gd name="connsiteX63" fmla="*/ 1609816 w 2057465"/>
              <a:gd name="connsiteY63" fmla="*/ 2903144 h 3049930"/>
              <a:gd name="connsiteX64" fmla="*/ 1610006 w 2057465"/>
              <a:gd name="connsiteY64" fmla="*/ 2122189 h 3049930"/>
              <a:gd name="connsiteX65" fmla="*/ 1615055 w 2057465"/>
              <a:gd name="connsiteY65" fmla="*/ 2071230 h 3049930"/>
              <a:gd name="connsiteX66" fmla="*/ 1660203 w 2057465"/>
              <a:gd name="connsiteY66" fmla="*/ 2040655 h 3049930"/>
              <a:gd name="connsiteX67" fmla="*/ 1699541 w 2057465"/>
              <a:gd name="connsiteY67" fmla="*/ 2072468 h 3049930"/>
              <a:gd name="connsiteX68" fmla="*/ 1703351 w 2057465"/>
              <a:gd name="connsiteY68" fmla="*/ 2119141 h 3049930"/>
              <a:gd name="connsiteX69" fmla="*/ 1703447 w 2057465"/>
              <a:gd name="connsiteY69" fmla="*/ 2900096 h 3049930"/>
              <a:gd name="connsiteX70" fmla="*/ 1703447 w 2057465"/>
              <a:gd name="connsiteY70" fmla="*/ 2960294 h 3049930"/>
              <a:gd name="connsiteX71" fmla="*/ 1931856 w 2057465"/>
              <a:gd name="connsiteY71" fmla="*/ 2960008 h 3049930"/>
              <a:gd name="connsiteX72" fmla="*/ 1965670 w 2057465"/>
              <a:gd name="connsiteY72" fmla="*/ 2908573 h 3049930"/>
              <a:gd name="connsiteX73" fmla="*/ 1965860 w 2057465"/>
              <a:gd name="connsiteY73" fmla="*/ 2560910 h 3049930"/>
              <a:gd name="connsiteX74" fmla="*/ 1969004 w 2057465"/>
              <a:gd name="connsiteY74" fmla="*/ 2514048 h 3049930"/>
              <a:gd name="connsiteX75" fmla="*/ 2009961 w 2057465"/>
              <a:gd name="connsiteY75" fmla="*/ 2469566 h 3049930"/>
              <a:gd name="connsiteX76" fmla="*/ 2053681 w 2057465"/>
              <a:gd name="connsiteY76" fmla="*/ 2516238 h 3049930"/>
              <a:gd name="connsiteX77" fmla="*/ 2056253 w 2057465"/>
              <a:gd name="connsiteY77" fmla="*/ 2639682 h 3049930"/>
              <a:gd name="connsiteX78" fmla="*/ 2056157 w 2057465"/>
              <a:gd name="connsiteY78" fmla="*/ 2911145 h 3049930"/>
              <a:gd name="connsiteX79" fmla="*/ 1920140 w 2057465"/>
              <a:gd name="connsiteY79" fmla="*/ 3048591 h 3049930"/>
              <a:gd name="connsiteX80" fmla="*/ 777331 w 2057465"/>
              <a:gd name="connsiteY80" fmla="*/ 3048591 h 3049930"/>
              <a:gd name="connsiteX81" fmla="*/ 744755 w 2057465"/>
              <a:gd name="connsiteY81" fmla="*/ 3046971 h 3049930"/>
              <a:gd name="connsiteX82" fmla="*/ 707513 w 2057465"/>
              <a:gd name="connsiteY82" fmla="*/ 3001727 h 3049930"/>
              <a:gd name="connsiteX83" fmla="*/ 748565 w 2057465"/>
              <a:gd name="connsiteY83" fmla="*/ 2962961 h 3049930"/>
              <a:gd name="connsiteX84" fmla="*/ 927540 w 2057465"/>
              <a:gd name="connsiteY84" fmla="*/ 2960865 h 3049930"/>
              <a:gd name="connsiteX85" fmla="*/ 1246151 w 2057465"/>
              <a:gd name="connsiteY85" fmla="*/ 534752 h 3049930"/>
              <a:gd name="connsiteX86" fmla="*/ 695797 w 2057465"/>
              <a:gd name="connsiteY86" fmla="*/ 687248 h 3049930"/>
              <a:gd name="connsiteX87" fmla="*/ 698654 w 2057465"/>
              <a:gd name="connsiteY87" fmla="*/ 1041482 h 3049930"/>
              <a:gd name="connsiteX88" fmla="*/ 1056985 w 2057465"/>
              <a:gd name="connsiteY88" fmla="*/ 1305420 h 3049930"/>
              <a:gd name="connsiteX89" fmla="*/ 1353403 w 2057465"/>
              <a:gd name="connsiteY89" fmla="*/ 1004430 h 3049930"/>
              <a:gd name="connsiteX90" fmla="*/ 1356451 w 2057465"/>
              <a:gd name="connsiteY90" fmla="*/ 676199 h 3049930"/>
              <a:gd name="connsiteX91" fmla="*/ 1341878 w 2057465"/>
              <a:gd name="connsiteY91" fmla="*/ 638003 h 3049930"/>
              <a:gd name="connsiteX92" fmla="*/ 1246151 w 2057465"/>
              <a:gd name="connsiteY92" fmla="*/ 534752 h 3049930"/>
              <a:gd name="connsiteX93" fmla="*/ 565114 w 2057465"/>
              <a:gd name="connsiteY93" fmla="*/ 665912 h 3049930"/>
              <a:gd name="connsiteX94" fmla="*/ 607310 w 2057465"/>
              <a:gd name="connsiteY94" fmla="*/ 638670 h 3049930"/>
              <a:gd name="connsiteX95" fmla="*/ 695702 w 2057465"/>
              <a:gd name="connsiteY95" fmla="*/ 593998 h 3049930"/>
              <a:gd name="connsiteX96" fmla="*/ 766949 w 2057465"/>
              <a:gd name="connsiteY96" fmla="*/ 594569 h 3049930"/>
              <a:gd name="connsiteX97" fmla="*/ 1187954 w 2057465"/>
              <a:gd name="connsiteY97" fmla="*/ 464458 h 3049930"/>
              <a:gd name="connsiteX98" fmla="*/ 1292538 w 2057465"/>
              <a:gd name="connsiteY98" fmla="*/ 458171 h 3049930"/>
              <a:gd name="connsiteX99" fmla="*/ 1448177 w 2057465"/>
              <a:gd name="connsiteY99" fmla="*/ 639908 h 3049930"/>
              <a:gd name="connsiteX100" fmla="*/ 1481990 w 2057465"/>
              <a:gd name="connsiteY100" fmla="*/ 661435 h 3049930"/>
              <a:gd name="connsiteX101" fmla="*/ 1257677 w 2057465"/>
              <a:gd name="connsiteY101" fmla="*/ 155467 h 3049930"/>
              <a:gd name="connsiteX102" fmla="*/ 764948 w 2057465"/>
              <a:gd name="connsiteY102" fmla="*/ 170612 h 3049930"/>
              <a:gd name="connsiteX103" fmla="*/ 565114 w 2057465"/>
              <a:gd name="connsiteY103" fmla="*/ 665912 h 3049930"/>
              <a:gd name="connsiteX104" fmla="*/ 1027743 w 2057465"/>
              <a:gd name="connsiteY104" fmla="*/ 2935910 h 3049930"/>
              <a:gd name="connsiteX105" fmla="*/ 1119088 w 2057465"/>
              <a:gd name="connsiteY105" fmla="*/ 2837612 h 3049930"/>
              <a:gd name="connsiteX106" fmla="*/ 1183191 w 2057465"/>
              <a:gd name="connsiteY106" fmla="*/ 2644254 h 3049930"/>
              <a:gd name="connsiteX107" fmla="*/ 1076130 w 2057465"/>
              <a:gd name="connsiteY107" fmla="*/ 2018081 h 3049930"/>
              <a:gd name="connsiteX108" fmla="*/ 1025267 w 2057465"/>
              <a:gd name="connsiteY108" fmla="*/ 1984457 h 3049930"/>
              <a:gd name="connsiteX109" fmla="*/ 980118 w 2057465"/>
              <a:gd name="connsiteY109" fmla="*/ 2018938 h 3049930"/>
              <a:gd name="connsiteX110" fmla="*/ 863151 w 2057465"/>
              <a:gd name="connsiteY110" fmla="*/ 2720454 h 3049930"/>
              <a:gd name="connsiteX111" fmla="*/ 872009 w 2057465"/>
              <a:gd name="connsiteY111" fmla="*/ 2762841 h 3049930"/>
              <a:gd name="connsiteX112" fmla="*/ 1027743 w 2057465"/>
              <a:gd name="connsiteY112" fmla="*/ 2935910 h 3049930"/>
              <a:gd name="connsiteX113" fmla="*/ 856674 w 2057465"/>
              <a:gd name="connsiteY113" fmla="*/ 1366380 h 3049930"/>
              <a:gd name="connsiteX114" fmla="*/ 868961 w 2057465"/>
              <a:gd name="connsiteY114" fmla="*/ 1453915 h 3049930"/>
              <a:gd name="connsiteX115" fmla="*/ 1027838 w 2057465"/>
              <a:gd name="connsiteY115" fmla="*/ 1653845 h 3049930"/>
              <a:gd name="connsiteX116" fmla="*/ 1166903 w 2057465"/>
              <a:gd name="connsiteY116" fmla="*/ 1484871 h 3049930"/>
              <a:gd name="connsiteX117" fmla="*/ 1191287 w 2057465"/>
              <a:gd name="connsiteY117" fmla="*/ 1364570 h 3049930"/>
              <a:gd name="connsiteX118" fmla="*/ 856674 w 2057465"/>
              <a:gd name="connsiteY118" fmla="*/ 1366380 h 3049930"/>
              <a:gd name="connsiteX119" fmla="*/ 962402 w 2057465"/>
              <a:gd name="connsiteY119" fmla="*/ 1717376 h 3049930"/>
              <a:gd name="connsiteX120" fmla="*/ 816098 w 2057465"/>
              <a:gd name="connsiteY120" fmla="*/ 1537449 h 3049930"/>
              <a:gd name="connsiteX121" fmla="*/ 784951 w 2057465"/>
              <a:gd name="connsiteY121" fmla="*/ 1525448 h 3049930"/>
              <a:gd name="connsiteX122" fmla="*/ 675413 w 2057465"/>
              <a:gd name="connsiteY122" fmla="*/ 1567643 h 3049930"/>
              <a:gd name="connsiteX123" fmla="*/ 806096 w 2057465"/>
              <a:gd name="connsiteY123" fmla="*/ 1828533 h 3049930"/>
              <a:gd name="connsiteX124" fmla="*/ 962402 w 2057465"/>
              <a:gd name="connsiteY124" fmla="*/ 1717376 h 3049930"/>
              <a:gd name="connsiteX125" fmla="*/ 1093466 w 2057465"/>
              <a:gd name="connsiteY125" fmla="*/ 1717281 h 3049930"/>
              <a:gd name="connsiteX126" fmla="*/ 1250152 w 2057465"/>
              <a:gd name="connsiteY126" fmla="*/ 1828438 h 3049930"/>
              <a:gd name="connsiteX127" fmla="*/ 1316732 w 2057465"/>
              <a:gd name="connsiteY127" fmla="*/ 1695278 h 3049930"/>
              <a:gd name="connsiteX128" fmla="*/ 1380263 w 2057465"/>
              <a:gd name="connsiteY128" fmla="*/ 1566786 h 3049930"/>
              <a:gd name="connsiteX129" fmla="*/ 1279489 w 2057465"/>
              <a:gd name="connsiteY129" fmla="*/ 1528400 h 3049930"/>
              <a:gd name="connsiteX130" fmla="*/ 1239865 w 2057465"/>
              <a:gd name="connsiteY130" fmla="*/ 1537925 h 3049930"/>
              <a:gd name="connsiteX131" fmla="*/ 1093466 w 2057465"/>
              <a:gd name="connsiteY131" fmla="*/ 1717281 h 3049930"/>
              <a:gd name="connsiteX132" fmla="*/ 1112516 w 2057465"/>
              <a:gd name="connsiteY132" fmla="*/ 1844249 h 3049930"/>
              <a:gd name="connsiteX133" fmla="*/ 931826 w 2057465"/>
              <a:gd name="connsiteY133" fmla="*/ 1854251 h 3049930"/>
              <a:gd name="connsiteX134" fmla="*/ 1005740 w 2057465"/>
              <a:gd name="connsiteY134" fmla="*/ 1893970 h 3049930"/>
              <a:gd name="connsiteX135" fmla="*/ 1112516 w 2057465"/>
              <a:gd name="connsiteY135" fmla="*/ 1844249 h 3049930"/>
              <a:gd name="connsiteX136" fmla="*/ 1449224 w 2057465"/>
              <a:gd name="connsiteY136" fmla="*/ 937184 h 3049930"/>
              <a:gd name="connsiteX137" fmla="*/ 1532378 w 2057465"/>
              <a:gd name="connsiteY137" fmla="*/ 841362 h 3049930"/>
              <a:gd name="connsiteX138" fmla="*/ 1449224 w 2057465"/>
              <a:gd name="connsiteY138" fmla="*/ 749255 h 3049930"/>
              <a:gd name="connsiteX139" fmla="*/ 1449224 w 2057465"/>
              <a:gd name="connsiteY139" fmla="*/ 937184 h 3049930"/>
              <a:gd name="connsiteX140" fmla="*/ 597499 w 2057465"/>
              <a:gd name="connsiteY140" fmla="*/ 940422 h 3049930"/>
              <a:gd name="connsiteX141" fmla="*/ 597499 w 2057465"/>
              <a:gd name="connsiteY141" fmla="*/ 753351 h 3049930"/>
              <a:gd name="connsiteX142" fmla="*/ 513965 w 2057465"/>
              <a:gd name="connsiteY142" fmla="*/ 836790 h 3049930"/>
              <a:gd name="connsiteX143" fmla="*/ 597499 w 2057465"/>
              <a:gd name="connsiteY143" fmla="*/ 940422 h 3049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2057465" h="3049930">
                <a:moveTo>
                  <a:pt x="927540" y="2960865"/>
                </a:moveTo>
                <a:cubicBezTo>
                  <a:pt x="879629" y="2907716"/>
                  <a:pt x="843244" y="2863710"/>
                  <a:pt x="802953" y="2823610"/>
                </a:cubicBezTo>
                <a:cubicBezTo>
                  <a:pt x="769806" y="2790653"/>
                  <a:pt x="763805" y="2753601"/>
                  <a:pt x="771235" y="2710358"/>
                </a:cubicBezTo>
                <a:cubicBezTo>
                  <a:pt x="811526" y="2478138"/>
                  <a:pt x="851435" y="2245823"/>
                  <a:pt x="891345" y="2013509"/>
                </a:cubicBezTo>
                <a:cubicBezTo>
                  <a:pt x="898394" y="1972646"/>
                  <a:pt x="905823" y="1931498"/>
                  <a:pt x="863818" y="1902828"/>
                </a:cubicBezTo>
                <a:cubicBezTo>
                  <a:pt x="782189" y="1940452"/>
                  <a:pt x="756471" y="1931022"/>
                  <a:pt x="715037" y="1848536"/>
                </a:cubicBezTo>
                <a:cubicBezTo>
                  <a:pt x="673985" y="1766621"/>
                  <a:pt x="633027" y="1684706"/>
                  <a:pt x="589974" y="1598790"/>
                </a:cubicBezTo>
                <a:cubicBezTo>
                  <a:pt x="477579" y="1643177"/>
                  <a:pt x="364994" y="1680896"/>
                  <a:pt x="258599" y="1731569"/>
                </a:cubicBezTo>
                <a:cubicBezTo>
                  <a:pt x="157825" y="1779575"/>
                  <a:pt x="96579" y="1865395"/>
                  <a:pt x="94103" y="1980266"/>
                </a:cubicBezTo>
                <a:cubicBezTo>
                  <a:pt x="90197" y="2175434"/>
                  <a:pt x="91436" y="2370696"/>
                  <a:pt x="90769" y="2565864"/>
                </a:cubicBezTo>
                <a:cubicBezTo>
                  <a:pt x="90388" y="2677020"/>
                  <a:pt x="90483" y="2788082"/>
                  <a:pt x="90769" y="2899239"/>
                </a:cubicBezTo>
                <a:cubicBezTo>
                  <a:pt x="90959" y="2957150"/>
                  <a:pt x="94293" y="2960199"/>
                  <a:pt x="153539" y="2960389"/>
                </a:cubicBezTo>
                <a:cubicBezTo>
                  <a:pt x="218213" y="2960579"/>
                  <a:pt x="282888" y="2960389"/>
                  <a:pt x="352992" y="2960389"/>
                </a:cubicBezTo>
                <a:cubicBezTo>
                  <a:pt x="352992" y="2936576"/>
                  <a:pt x="352992" y="2918003"/>
                  <a:pt x="352992" y="2899429"/>
                </a:cubicBezTo>
                <a:cubicBezTo>
                  <a:pt x="352992" y="2640730"/>
                  <a:pt x="352992" y="2381936"/>
                  <a:pt x="352992" y="2123237"/>
                </a:cubicBezTo>
                <a:cubicBezTo>
                  <a:pt x="352992" y="2108949"/>
                  <a:pt x="348420" y="2091709"/>
                  <a:pt x="354802" y="2081136"/>
                </a:cubicBezTo>
                <a:cubicBezTo>
                  <a:pt x="364803" y="2064467"/>
                  <a:pt x="383567" y="2039798"/>
                  <a:pt x="396426" y="2041131"/>
                </a:cubicBezTo>
                <a:cubicBezTo>
                  <a:pt x="413952" y="2042846"/>
                  <a:pt x="432335" y="2063610"/>
                  <a:pt x="444432" y="2080469"/>
                </a:cubicBezTo>
                <a:cubicBezTo>
                  <a:pt x="451290" y="2090090"/>
                  <a:pt x="446528" y="2108187"/>
                  <a:pt x="446528" y="2122475"/>
                </a:cubicBezTo>
                <a:cubicBezTo>
                  <a:pt x="446623" y="2382793"/>
                  <a:pt x="446528" y="2643111"/>
                  <a:pt x="446528" y="2903429"/>
                </a:cubicBezTo>
                <a:cubicBezTo>
                  <a:pt x="446528" y="2920479"/>
                  <a:pt x="446528" y="2937624"/>
                  <a:pt x="446528" y="2960579"/>
                </a:cubicBezTo>
                <a:cubicBezTo>
                  <a:pt x="477579" y="2960579"/>
                  <a:pt x="504059" y="2960865"/>
                  <a:pt x="530538" y="2960484"/>
                </a:cubicBezTo>
                <a:cubicBezTo>
                  <a:pt x="559780" y="2960103"/>
                  <a:pt x="581402" y="2970009"/>
                  <a:pt x="582259" y="3002490"/>
                </a:cubicBezTo>
                <a:cubicBezTo>
                  <a:pt x="583116" y="3034208"/>
                  <a:pt x="563590" y="3048209"/>
                  <a:pt x="533777" y="3048209"/>
                </a:cubicBezTo>
                <a:cubicBezTo>
                  <a:pt x="392521" y="3048400"/>
                  <a:pt x="251170" y="3049829"/>
                  <a:pt x="110009" y="3047448"/>
                </a:cubicBezTo>
                <a:cubicBezTo>
                  <a:pt x="42953" y="3046304"/>
                  <a:pt x="758" y="2995917"/>
                  <a:pt x="472" y="2922670"/>
                </a:cubicBezTo>
                <a:cubicBezTo>
                  <a:pt x="-290" y="2752839"/>
                  <a:pt x="186" y="2583008"/>
                  <a:pt x="186" y="2413178"/>
                </a:cubicBezTo>
                <a:cubicBezTo>
                  <a:pt x="186" y="2281447"/>
                  <a:pt x="-290" y="2149716"/>
                  <a:pt x="281" y="2017985"/>
                </a:cubicBezTo>
                <a:cubicBezTo>
                  <a:pt x="1234" y="1830152"/>
                  <a:pt x="95436" y="1694707"/>
                  <a:pt x="270029" y="1627365"/>
                </a:cubicBezTo>
                <a:cubicBezTo>
                  <a:pt x="422048" y="1568691"/>
                  <a:pt x="573686" y="1509255"/>
                  <a:pt x="725515" y="1450200"/>
                </a:cubicBezTo>
                <a:cubicBezTo>
                  <a:pt x="773807" y="1431436"/>
                  <a:pt x="793238" y="1338377"/>
                  <a:pt x="753614" y="1303229"/>
                </a:cubicBezTo>
                <a:cubicBezTo>
                  <a:pt x="677509" y="1235792"/>
                  <a:pt x="625598" y="1155782"/>
                  <a:pt x="606262" y="1054817"/>
                </a:cubicBezTo>
                <a:cubicBezTo>
                  <a:pt x="604262" y="1044435"/>
                  <a:pt x="586831" y="1032434"/>
                  <a:pt x="574448" y="1029195"/>
                </a:cubicBezTo>
                <a:cubicBezTo>
                  <a:pt x="444242" y="995667"/>
                  <a:pt x="387663" y="862508"/>
                  <a:pt x="452624" y="744779"/>
                </a:cubicBezTo>
                <a:cubicBezTo>
                  <a:pt x="463292" y="725443"/>
                  <a:pt x="467006" y="700202"/>
                  <a:pt x="467102" y="677627"/>
                </a:cubicBezTo>
                <a:cubicBezTo>
                  <a:pt x="467768" y="564947"/>
                  <a:pt x="467197" y="452837"/>
                  <a:pt x="511107" y="345395"/>
                </a:cubicBezTo>
                <a:cubicBezTo>
                  <a:pt x="606548" y="111842"/>
                  <a:pt x="843625" y="-25413"/>
                  <a:pt x="1080702" y="3924"/>
                </a:cubicBezTo>
                <a:cubicBezTo>
                  <a:pt x="1354070" y="37833"/>
                  <a:pt x="1551618" y="241763"/>
                  <a:pt x="1573621" y="502272"/>
                </a:cubicBezTo>
                <a:cubicBezTo>
                  <a:pt x="1576859" y="540182"/>
                  <a:pt x="1577240" y="578377"/>
                  <a:pt x="1577812" y="616382"/>
                </a:cubicBezTo>
                <a:cubicBezTo>
                  <a:pt x="1578574" y="669722"/>
                  <a:pt x="1580479" y="719537"/>
                  <a:pt x="1606006" y="771639"/>
                </a:cubicBezTo>
                <a:cubicBezTo>
                  <a:pt x="1657155" y="876128"/>
                  <a:pt x="1590099" y="998144"/>
                  <a:pt x="1477228" y="1028909"/>
                </a:cubicBezTo>
                <a:cubicBezTo>
                  <a:pt x="1461988" y="1033100"/>
                  <a:pt x="1442366" y="1050055"/>
                  <a:pt x="1438937" y="1064438"/>
                </a:cubicBezTo>
                <a:cubicBezTo>
                  <a:pt x="1418363" y="1152258"/>
                  <a:pt x="1376930" y="1227125"/>
                  <a:pt x="1309588" y="1286656"/>
                </a:cubicBezTo>
                <a:cubicBezTo>
                  <a:pt x="1266725" y="1324565"/>
                  <a:pt x="1289204" y="1372667"/>
                  <a:pt x="1288728" y="1415815"/>
                </a:cubicBezTo>
                <a:cubicBezTo>
                  <a:pt x="1288633" y="1428293"/>
                  <a:pt x="1319589" y="1445438"/>
                  <a:pt x="1339211" y="1453248"/>
                </a:cubicBezTo>
                <a:cubicBezTo>
                  <a:pt x="1489134" y="1512684"/>
                  <a:pt x="1639820" y="1570501"/>
                  <a:pt x="1790315" y="1628508"/>
                </a:cubicBezTo>
                <a:cubicBezTo>
                  <a:pt x="1956431" y="1692516"/>
                  <a:pt x="2053776" y="1830629"/>
                  <a:pt x="2055872" y="2008079"/>
                </a:cubicBezTo>
                <a:cubicBezTo>
                  <a:pt x="2057015" y="2100091"/>
                  <a:pt x="2055586" y="2192198"/>
                  <a:pt x="2056348" y="2284304"/>
                </a:cubicBezTo>
                <a:cubicBezTo>
                  <a:pt x="2056634" y="2317928"/>
                  <a:pt x="2049299" y="2348979"/>
                  <a:pt x="2011485" y="2350122"/>
                </a:cubicBezTo>
                <a:cubicBezTo>
                  <a:pt x="1971575" y="2351360"/>
                  <a:pt x="1966051" y="2317642"/>
                  <a:pt x="1965670" y="2285638"/>
                </a:cubicBezTo>
                <a:cubicBezTo>
                  <a:pt x="1964527" y="2184101"/>
                  <a:pt x="1967003" y="2082374"/>
                  <a:pt x="1962146" y="1981028"/>
                </a:cubicBezTo>
                <a:cubicBezTo>
                  <a:pt x="1955954" y="1852155"/>
                  <a:pt x="1884041" y="1766240"/>
                  <a:pt x="1768312" y="1717376"/>
                </a:cubicBezTo>
                <a:cubicBezTo>
                  <a:pt x="1670681" y="1676228"/>
                  <a:pt x="1570859" y="1640319"/>
                  <a:pt x="1465703" y="1599647"/>
                </a:cubicBezTo>
                <a:cubicBezTo>
                  <a:pt x="1439985" y="1650987"/>
                  <a:pt x="1413982" y="1702803"/>
                  <a:pt x="1388074" y="1754714"/>
                </a:cubicBezTo>
                <a:cubicBezTo>
                  <a:pt x="1371786" y="1787290"/>
                  <a:pt x="1355594" y="1819865"/>
                  <a:pt x="1339306" y="1852441"/>
                </a:cubicBezTo>
                <a:cubicBezTo>
                  <a:pt x="1300063" y="1930546"/>
                  <a:pt x="1271583" y="1940357"/>
                  <a:pt x="1192335" y="1902638"/>
                </a:cubicBezTo>
                <a:cubicBezTo>
                  <a:pt x="1161284" y="1926069"/>
                  <a:pt x="1155378" y="1956740"/>
                  <a:pt x="1161950" y="1994173"/>
                </a:cubicBezTo>
                <a:cubicBezTo>
                  <a:pt x="1192716" y="2170290"/>
                  <a:pt x="1222053" y="2346693"/>
                  <a:pt x="1251962" y="2522906"/>
                </a:cubicBezTo>
                <a:cubicBezTo>
                  <a:pt x="1263296" y="2589962"/>
                  <a:pt x="1274441" y="2657018"/>
                  <a:pt x="1286156" y="2724074"/>
                </a:cubicBezTo>
                <a:cubicBezTo>
                  <a:pt x="1292633" y="2761126"/>
                  <a:pt x="1283299" y="2791796"/>
                  <a:pt x="1256629" y="2819514"/>
                </a:cubicBezTo>
                <a:cubicBezTo>
                  <a:pt x="1216052" y="2861615"/>
                  <a:pt x="1177952" y="2906096"/>
                  <a:pt x="1128899" y="2960579"/>
                </a:cubicBezTo>
                <a:cubicBezTo>
                  <a:pt x="1216719" y="2960579"/>
                  <a:pt x="1292824" y="2960579"/>
                  <a:pt x="1369024" y="2960579"/>
                </a:cubicBezTo>
                <a:cubicBezTo>
                  <a:pt x="1446653" y="2960579"/>
                  <a:pt x="1524186" y="2960579"/>
                  <a:pt x="1609816" y="2960579"/>
                </a:cubicBezTo>
                <a:cubicBezTo>
                  <a:pt x="1609816" y="2939434"/>
                  <a:pt x="1609816" y="2921241"/>
                  <a:pt x="1609816" y="2903144"/>
                </a:cubicBezTo>
                <a:cubicBezTo>
                  <a:pt x="1609816" y="2642825"/>
                  <a:pt x="1609721" y="2382507"/>
                  <a:pt x="1610006" y="2122189"/>
                </a:cubicBezTo>
                <a:cubicBezTo>
                  <a:pt x="1610006" y="2104854"/>
                  <a:pt x="1606958" y="2084184"/>
                  <a:pt x="1615055" y="2071230"/>
                </a:cubicBezTo>
                <a:cubicBezTo>
                  <a:pt x="1624294" y="2056562"/>
                  <a:pt x="1644296" y="2041322"/>
                  <a:pt x="1660203" y="2040655"/>
                </a:cubicBezTo>
                <a:cubicBezTo>
                  <a:pt x="1673348" y="2040179"/>
                  <a:pt x="1691445" y="2058181"/>
                  <a:pt x="1699541" y="2072468"/>
                </a:cubicBezTo>
                <a:cubicBezTo>
                  <a:pt x="1706495" y="2084756"/>
                  <a:pt x="1703256" y="2103329"/>
                  <a:pt x="1703351" y="2119141"/>
                </a:cubicBezTo>
                <a:cubicBezTo>
                  <a:pt x="1703542" y="2379459"/>
                  <a:pt x="1703447" y="2639777"/>
                  <a:pt x="1703447" y="2900096"/>
                </a:cubicBezTo>
                <a:cubicBezTo>
                  <a:pt x="1703447" y="2918669"/>
                  <a:pt x="1703447" y="2937243"/>
                  <a:pt x="1703447" y="2960294"/>
                </a:cubicBezTo>
                <a:cubicBezTo>
                  <a:pt x="1783457" y="2960294"/>
                  <a:pt x="1857656" y="2960960"/>
                  <a:pt x="1931856" y="2960008"/>
                </a:cubicBezTo>
                <a:cubicBezTo>
                  <a:pt x="1966337" y="2959627"/>
                  <a:pt x="1965575" y="2932957"/>
                  <a:pt x="1965670" y="2908573"/>
                </a:cubicBezTo>
                <a:cubicBezTo>
                  <a:pt x="1965765" y="2792654"/>
                  <a:pt x="1965670" y="2676830"/>
                  <a:pt x="1965860" y="2560910"/>
                </a:cubicBezTo>
                <a:cubicBezTo>
                  <a:pt x="1965860" y="2545099"/>
                  <a:pt x="1962241" y="2526620"/>
                  <a:pt x="1969004" y="2514048"/>
                </a:cubicBezTo>
                <a:cubicBezTo>
                  <a:pt x="1978243" y="2496902"/>
                  <a:pt x="1995864" y="2484234"/>
                  <a:pt x="2009961" y="2469566"/>
                </a:cubicBezTo>
                <a:cubicBezTo>
                  <a:pt x="2025201" y="2484996"/>
                  <a:pt x="2050728" y="2498712"/>
                  <a:pt x="2053681" y="2516238"/>
                </a:cubicBezTo>
                <a:cubicBezTo>
                  <a:pt x="2060348" y="2556434"/>
                  <a:pt x="2056157" y="2598439"/>
                  <a:pt x="2056253" y="2639682"/>
                </a:cubicBezTo>
                <a:cubicBezTo>
                  <a:pt x="2056348" y="2730170"/>
                  <a:pt x="2056538" y="2820657"/>
                  <a:pt x="2056157" y="2911145"/>
                </a:cubicBezTo>
                <a:cubicBezTo>
                  <a:pt x="2055776" y="3004871"/>
                  <a:pt x="2012723" y="3048495"/>
                  <a:pt x="1920140" y="3048591"/>
                </a:cubicBezTo>
                <a:cubicBezTo>
                  <a:pt x="1539236" y="3048686"/>
                  <a:pt x="1158236" y="3048686"/>
                  <a:pt x="777331" y="3048591"/>
                </a:cubicBezTo>
                <a:cubicBezTo>
                  <a:pt x="766187" y="3048591"/>
                  <a:pt x="751613" y="3052496"/>
                  <a:pt x="744755" y="3046971"/>
                </a:cubicBezTo>
                <a:cubicBezTo>
                  <a:pt x="729230" y="3034398"/>
                  <a:pt x="707417" y="3017063"/>
                  <a:pt x="707513" y="3001727"/>
                </a:cubicBezTo>
                <a:cubicBezTo>
                  <a:pt x="707608" y="2988107"/>
                  <a:pt x="732849" y="2964390"/>
                  <a:pt x="748565" y="2962961"/>
                </a:cubicBezTo>
                <a:cubicBezTo>
                  <a:pt x="803048" y="2957912"/>
                  <a:pt x="858389" y="2960865"/>
                  <a:pt x="927540" y="2960865"/>
                </a:cubicBezTo>
                <a:close/>
                <a:moveTo>
                  <a:pt x="1246151" y="534752"/>
                </a:moveTo>
                <a:cubicBezTo>
                  <a:pt x="1073844" y="642194"/>
                  <a:pt x="889916" y="690677"/>
                  <a:pt x="695797" y="687248"/>
                </a:cubicBezTo>
                <a:cubicBezTo>
                  <a:pt x="695797" y="808310"/>
                  <a:pt x="683605" y="926706"/>
                  <a:pt x="698654" y="1041482"/>
                </a:cubicBezTo>
                <a:cubicBezTo>
                  <a:pt x="720657" y="1208360"/>
                  <a:pt x="878296" y="1316088"/>
                  <a:pt x="1056985" y="1305420"/>
                </a:cubicBezTo>
                <a:cubicBezTo>
                  <a:pt x="1211766" y="1296181"/>
                  <a:pt x="1343687" y="1166069"/>
                  <a:pt x="1353403" y="1004430"/>
                </a:cubicBezTo>
                <a:cubicBezTo>
                  <a:pt x="1359975" y="895369"/>
                  <a:pt x="1356737" y="785641"/>
                  <a:pt x="1356451" y="676199"/>
                </a:cubicBezTo>
                <a:cubicBezTo>
                  <a:pt x="1356451" y="663340"/>
                  <a:pt x="1350355" y="647814"/>
                  <a:pt x="1341878" y="638003"/>
                </a:cubicBezTo>
                <a:cubicBezTo>
                  <a:pt x="1311969" y="603332"/>
                  <a:pt x="1279775" y="570662"/>
                  <a:pt x="1246151" y="534752"/>
                </a:cubicBezTo>
                <a:close/>
                <a:moveTo>
                  <a:pt x="565114" y="665912"/>
                </a:moveTo>
                <a:cubicBezTo>
                  <a:pt x="582354" y="655244"/>
                  <a:pt x="600166" y="650291"/>
                  <a:pt x="607310" y="638670"/>
                </a:cubicBezTo>
                <a:cubicBezTo>
                  <a:pt x="628360" y="604571"/>
                  <a:pt x="658745" y="593903"/>
                  <a:pt x="695702" y="593998"/>
                </a:cubicBezTo>
                <a:cubicBezTo>
                  <a:pt x="719419" y="594093"/>
                  <a:pt x="743231" y="595427"/>
                  <a:pt x="766949" y="594569"/>
                </a:cubicBezTo>
                <a:cubicBezTo>
                  <a:pt x="918872" y="588854"/>
                  <a:pt x="1058699" y="543420"/>
                  <a:pt x="1187954" y="464458"/>
                </a:cubicBezTo>
                <a:cubicBezTo>
                  <a:pt x="1222529" y="443312"/>
                  <a:pt x="1261772" y="426453"/>
                  <a:pt x="1292538" y="458171"/>
                </a:cubicBezTo>
                <a:cubicBezTo>
                  <a:pt x="1347974" y="515321"/>
                  <a:pt x="1396075" y="579520"/>
                  <a:pt x="1448177" y="639908"/>
                </a:cubicBezTo>
                <a:cubicBezTo>
                  <a:pt x="1455892" y="648767"/>
                  <a:pt x="1468751" y="653243"/>
                  <a:pt x="1481990" y="661435"/>
                </a:cubicBezTo>
                <a:cubicBezTo>
                  <a:pt x="1503993" y="442455"/>
                  <a:pt x="1445605" y="266338"/>
                  <a:pt x="1257677" y="155467"/>
                </a:cubicBezTo>
                <a:cubicBezTo>
                  <a:pt x="1093370" y="58502"/>
                  <a:pt x="923540" y="64217"/>
                  <a:pt x="764948" y="170612"/>
                </a:cubicBezTo>
                <a:cubicBezTo>
                  <a:pt x="592736" y="286245"/>
                  <a:pt x="542540" y="457219"/>
                  <a:pt x="565114" y="665912"/>
                </a:cubicBezTo>
                <a:close/>
                <a:moveTo>
                  <a:pt x="1027743" y="2935910"/>
                </a:moveTo>
                <a:cubicBezTo>
                  <a:pt x="1060795" y="2899905"/>
                  <a:pt x="1087179" y="2865615"/>
                  <a:pt x="1119088" y="2837612"/>
                </a:cubicBezTo>
                <a:cubicBezTo>
                  <a:pt x="1179381" y="2784748"/>
                  <a:pt x="1201098" y="2729598"/>
                  <a:pt x="1183191" y="2644254"/>
                </a:cubicBezTo>
                <a:cubicBezTo>
                  <a:pt x="1139662" y="2437181"/>
                  <a:pt x="1109753" y="2227154"/>
                  <a:pt x="1076130" y="2018081"/>
                </a:cubicBezTo>
                <a:cubicBezTo>
                  <a:pt x="1070606" y="1983791"/>
                  <a:pt x="1050317" y="1985029"/>
                  <a:pt x="1025267" y="1984457"/>
                </a:cubicBezTo>
                <a:cubicBezTo>
                  <a:pt x="999740" y="1983886"/>
                  <a:pt x="984976" y="1989125"/>
                  <a:pt x="980118" y="2018938"/>
                </a:cubicBezTo>
                <a:cubicBezTo>
                  <a:pt x="941828" y="2252872"/>
                  <a:pt x="901632" y="2486520"/>
                  <a:pt x="863151" y="2720454"/>
                </a:cubicBezTo>
                <a:cubicBezTo>
                  <a:pt x="860960" y="2733980"/>
                  <a:pt x="863723" y="2753125"/>
                  <a:pt x="872009" y="2762841"/>
                </a:cubicBezTo>
                <a:cubicBezTo>
                  <a:pt x="921444" y="2820371"/>
                  <a:pt x="973165" y="2875902"/>
                  <a:pt x="1027743" y="2935910"/>
                </a:cubicBezTo>
                <a:close/>
                <a:moveTo>
                  <a:pt x="856674" y="1366380"/>
                </a:moveTo>
                <a:cubicBezTo>
                  <a:pt x="861056" y="1403051"/>
                  <a:pt x="855531" y="1435246"/>
                  <a:pt x="868961" y="1453915"/>
                </a:cubicBezTo>
                <a:cubicBezTo>
                  <a:pt x="917444" y="1521733"/>
                  <a:pt x="972212" y="1584884"/>
                  <a:pt x="1027838" y="1653845"/>
                </a:cubicBezTo>
                <a:cubicBezTo>
                  <a:pt x="1076511" y="1594123"/>
                  <a:pt x="1119469" y="1537449"/>
                  <a:pt x="1166903" y="1484871"/>
                </a:cubicBezTo>
                <a:cubicBezTo>
                  <a:pt x="1199860" y="1448390"/>
                  <a:pt x="1199384" y="1410100"/>
                  <a:pt x="1191287" y="1364570"/>
                </a:cubicBezTo>
                <a:cubicBezTo>
                  <a:pt x="1081845" y="1406099"/>
                  <a:pt x="974689" y="1401718"/>
                  <a:pt x="856674" y="1366380"/>
                </a:cubicBezTo>
                <a:close/>
                <a:moveTo>
                  <a:pt x="962402" y="1717376"/>
                </a:moveTo>
                <a:cubicBezTo>
                  <a:pt x="911919" y="1654892"/>
                  <a:pt x="864866" y="1595456"/>
                  <a:pt x="816098" y="1537449"/>
                </a:cubicBezTo>
                <a:cubicBezTo>
                  <a:pt x="809621" y="1529734"/>
                  <a:pt x="793428" y="1522781"/>
                  <a:pt x="784951" y="1525448"/>
                </a:cubicBezTo>
                <a:cubicBezTo>
                  <a:pt x="748375" y="1537259"/>
                  <a:pt x="713037" y="1552689"/>
                  <a:pt x="675413" y="1567643"/>
                </a:cubicBezTo>
                <a:cubicBezTo>
                  <a:pt x="720276" y="1657178"/>
                  <a:pt x="762281" y="1741189"/>
                  <a:pt x="806096" y="1828533"/>
                </a:cubicBezTo>
                <a:cubicBezTo>
                  <a:pt x="858960" y="1790909"/>
                  <a:pt x="907823" y="1756143"/>
                  <a:pt x="962402" y="1717376"/>
                </a:cubicBezTo>
                <a:close/>
                <a:moveTo>
                  <a:pt x="1093466" y="1717281"/>
                </a:moveTo>
                <a:cubicBezTo>
                  <a:pt x="1147091" y="1755381"/>
                  <a:pt x="1197764" y="1791290"/>
                  <a:pt x="1250152" y="1828438"/>
                </a:cubicBezTo>
                <a:cubicBezTo>
                  <a:pt x="1274345" y="1780051"/>
                  <a:pt x="1295681" y="1737760"/>
                  <a:pt x="1316732" y="1695278"/>
                </a:cubicBezTo>
                <a:cubicBezTo>
                  <a:pt x="1337687" y="1653178"/>
                  <a:pt x="1358451" y="1611077"/>
                  <a:pt x="1380263" y="1566786"/>
                </a:cubicBezTo>
                <a:cubicBezTo>
                  <a:pt x="1344354" y="1552689"/>
                  <a:pt x="1312636" y="1538021"/>
                  <a:pt x="1279489" y="1528400"/>
                </a:cubicBezTo>
                <a:cubicBezTo>
                  <a:pt x="1267868" y="1524971"/>
                  <a:pt x="1247199" y="1529353"/>
                  <a:pt x="1239865" y="1537925"/>
                </a:cubicBezTo>
                <a:cubicBezTo>
                  <a:pt x="1190621" y="1595456"/>
                  <a:pt x="1143758" y="1655083"/>
                  <a:pt x="1093466" y="1717281"/>
                </a:cubicBezTo>
                <a:close/>
                <a:moveTo>
                  <a:pt x="1112516" y="1844249"/>
                </a:moveTo>
                <a:cubicBezTo>
                  <a:pt x="1008979" y="1769954"/>
                  <a:pt x="1049841" y="1764525"/>
                  <a:pt x="931826" y="1854251"/>
                </a:cubicBezTo>
                <a:cubicBezTo>
                  <a:pt x="959639" y="1869967"/>
                  <a:pt x="981547" y="1890636"/>
                  <a:pt x="1005740" y="1893970"/>
                </a:cubicBezTo>
                <a:cubicBezTo>
                  <a:pt x="1047365" y="1899780"/>
                  <a:pt x="1096895" y="1908734"/>
                  <a:pt x="1112516" y="1844249"/>
                </a:cubicBezTo>
                <a:close/>
                <a:moveTo>
                  <a:pt x="1449224" y="937184"/>
                </a:moveTo>
                <a:cubicBezTo>
                  <a:pt x="1506279" y="922134"/>
                  <a:pt x="1532949" y="890321"/>
                  <a:pt x="1532378" y="841362"/>
                </a:cubicBezTo>
                <a:cubicBezTo>
                  <a:pt x="1531806" y="792499"/>
                  <a:pt x="1503422" y="760590"/>
                  <a:pt x="1449224" y="749255"/>
                </a:cubicBezTo>
                <a:cubicBezTo>
                  <a:pt x="1449224" y="810787"/>
                  <a:pt x="1449224" y="872033"/>
                  <a:pt x="1449224" y="937184"/>
                </a:cubicBezTo>
                <a:close/>
                <a:moveTo>
                  <a:pt x="597499" y="940422"/>
                </a:moveTo>
                <a:cubicBezTo>
                  <a:pt x="597499" y="875938"/>
                  <a:pt x="597499" y="814883"/>
                  <a:pt x="597499" y="753351"/>
                </a:cubicBezTo>
                <a:cubicBezTo>
                  <a:pt x="546921" y="763829"/>
                  <a:pt x="517203" y="794023"/>
                  <a:pt x="513965" y="836790"/>
                </a:cubicBezTo>
                <a:cubicBezTo>
                  <a:pt x="510440" y="884510"/>
                  <a:pt x="537206" y="919086"/>
                  <a:pt x="597499" y="940422"/>
                </a:cubicBez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9FA48057-7835-255A-15AD-47958382637E}"/>
              </a:ext>
            </a:extLst>
          </p:cNvPr>
          <p:cNvSpPr txBox="1"/>
          <p:nvPr/>
        </p:nvSpPr>
        <p:spPr>
          <a:xfrm>
            <a:off x="7907831" y="5467867"/>
            <a:ext cx="811119" cy="161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um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kill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1EAC4C48-4313-B464-900B-4B9905460812}"/>
              </a:ext>
            </a:extLst>
          </p:cNvPr>
          <p:cNvSpPr>
            <a:spLocks noChangeAspect="1"/>
          </p:cNvSpPr>
          <p:nvPr/>
        </p:nvSpPr>
        <p:spPr>
          <a:xfrm>
            <a:off x="9033586" y="5387819"/>
            <a:ext cx="332599" cy="33259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19108A1-483C-1315-04EE-1429272EC533}"/>
              </a:ext>
            </a:extLst>
          </p:cNvPr>
          <p:cNvSpPr txBox="1"/>
          <p:nvPr/>
        </p:nvSpPr>
        <p:spPr>
          <a:xfrm>
            <a:off x="9497874" y="5467867"/>
            <a:ext cx="578685" cy="161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 skills</a:t>
            </a:r>
          </a:p>
        </p:txBody>
      </p:sp>
      <p:sp>
        <p:nvSpPr>
          <p:cNvPr id="156" name="Graphic 613">
            <a:extLst>
              <a:ext uri="{FF2B5EF4-FFF2-40B4-BE49-F238E27FC236}">
                <a16:creationId xmlns:a16="http://schemas.microsoft.com/office/drawing/2014/main" id="{B01BAB90-6FF0-3F83-4D7C-7450F5DAB993}"/>
              </a:ext>
            </a:extLst>
          </p:cNvPr>
          <p:cNvSpPr>
            <a:spLocks noChangeAspect="1"/>
          </p:cNvSpPr>
          <p:nvPr/>
        </p:nvSpPr>
        <p:spPr>
          <a:xfrm>
            <a:off x="9107918" y="5434380"/>
            <a:ext cx="183935" cy="239477"/>
          </a:xfrm>
          <a:custGeom>
            <a:avLst/>
            <a:gdLst>
              <a:gd name="connsiteX0" fmla="*/ 315284 w 2342110"/>
              <a:gd name="connsiteY0" fmla="*/ 2961272 h 3049330"/>
              <a:gd name="connsiteX1" fmla="*/ 341383 w 2342110"/>
              <a:gd name="connsiteY1" fmla="*/ 2781821 h 3049330"/>
              <a:gd name="connsiteX2" fmla="*/ 397199 w 2342110"/>
              <a:gd name="connsiteY2" fmla="*/ 2726195 h 3049330"/>
              <a:gd name="connsiteX3" fmla="*/ 430537 w 2342110"/>
              <a:gd name="connsiteY3" fmla="*/ 2796871 h 3049330"/>
              <a:gd name="connsiteX4" fmla="*/ 407486 w 2342110"/>
              <a:gd name="connsiteY4" fmla="*/ 2958510 h 3049330"/>
              <a:gd name="connsiteX5" fmla="*/ 1125957 w 2342110"/>
              <a:gd name="connsiteY5" fmla="*/ 2958510 h 3049330"/>
              <a:gd name="connsiteX6" fmla="*/ 1125957 w 2342110"/>
              <a:gd name="connsiteY6" fmla="*/ 2449113 h 3049330"/>
              <a:gd name="connsiteX7" fmla="*/ 1025278 w 2342110"/>
              <a:gd name="connsiteY7" fmla="*/ 2529694 h 3049330"/>
              <a:gd name="connsiteX8" fmla="*/ 857924 w 2342110"/>
              <a:gd name="connsiteY8" fmla="*/ 2493023 h 3049330"/>
              <a:gd name="connsiteX9" fmla="*/ 678758 w 2342110"/>
              <a:gd name="connsiteY9" fmla="*/ 2124977 h 3049330"/>
              <a:gd name="connsiteX10" fmla="*/ 267564 w 2342110"/>
              <a:gd name="connsiteY10" fmla="*/ 2312238 h 3049330"/>
              <a:gd name="connsiteX11" fmla="*/ 202699 w 2342110"/>
              <a:gd name="connsiteY11" fmla="*/ 2303761 h 3049330"/>
              <a:gd name="connsiteX12" fmla="*/ 212224 w 2342110"/>
              <a:gd name="connsiteY12" fmla="*/ 2243468 h 3049330"/>
              <a:gd name="connsiteX13" fmla="*/ 329762 w 2342110"/>
              <a:gd name="connsiteY13" fmla="*/ 2174031 h 3049330"/>
              <a:gd name="connsiteX14" fmla="*/ 619989 w 2342110"/>
              <a:gd name="connsiteY14" fmla="*/ 2056778 h 3049330"/>
              <a:gd name="connsiteX15" fmla="*/ 828587 w 2342110"/>
              <a:gd name="connsiteY15" fmla="*/ 1927333 h 3049330"/>
              <a:gd name="connsiteX16" fmla="*/ 823919 w 2342110"/>
              <a:gd name="connsiteY16" fmla="*/ 1775124 h 3049330"/>
              <a:gd name="connsiteX17" fmla="*/ 572269 w 2342110"/>
              <a:gd name="connsiteY17" fmla="*/ 1355643 h 3049330"/>
              <a:gd name="connsiteX18" fmla="*/ 546932 w 2342110"/>
              <a:gd name="connsiteY18" fmla="*/ 1324591 h 3049330"/>
              <a:gd name="connsiteX19" fmla="*/ 380340 w 2342110"/>
              <a:gd name="connsiteY19" fmla="*/ 1054081 h 3049330"/>
              <a:gd name="connsiteX20" fmla="*/ 369767 w 2342110"/>
              <a:gd name="connsiteY20" fmla="*/ 1022363 h 3049330"/>
              <a:gd name="connsiteX21" fmla="*/ 330524 w 2342110"/>
              <a:gd name="connsiteY21" fmla="*/ 862629 h 3049330"/>
              <a:gd name="connsiteX22" fmla="*/ 465875 w 2342110"/>
              <a:gd name="connsiteY22" fmla="*/ 779190 h 3049330"/>
              <a:gd name="connsiteX23" fmla="*/ 490068 w 2342110"/>
              <a:gd name="connsiteY23" fmla="*/ 776713 h 3049330"/>
              <a:gd name="connsiteX24" fmla="*/ 504451 w 2342110"/>
              <a:gd name="connsiteY24" fmla="*/ 577450 h 3049330"/>
              <a:gd name="connsiteX25" fmla="*/ 1021087 w 2342110"/>
              <a:gd name="connsiteY25" fmla="*/ 56147 h 3049330"/>
              <a:gd name="connsiteX26" fmla="*/ 1063473 w 2342110"/>
              <a:gd name="connsiteY26" fmla="*/ 36906 h 3049330"/>
              <a:gd name="connsiteX27" fmla="*/ 1313123 w 2342110"/>
              <a:gd name="connsiteY27" fmla="*/ 41478 h 3049330"/>
              <a:gd name="connsiteX28" fmla="*/ 1378179 w 2342110"/>
              <a:gd name="connsiteY28" fmla="*/ 66148 h 3049330"/>
              <a:gd name="connsiteX29" fmla="*/ 1858525 w 2342110"/>
              <a:gd name="connsiteY29" fmla="*/ 690417 h 3049330"/>
              <a:gd name="connsiteX30" fmla="*/ 1858525 w 2342110"/>
              <a:gd name="connsiteY30" fmla="*/ 773094 h 3049330"/>
              <a:gd name="connsiteX31" fmla="*/ 1892529 w 2342110"/>
              <a:gd name="connsiteY31" fmla="*/ 779571 h 3049330"/>
              <a:gd name="connsiteX32" fmla="*/ 2012354 w 2342110"/>
              <a:gd name="connsiteY32" fmla="*/ 864438 h 3049330"/>
              <a:gd name="connsiteX33" fmla="*/ 1981397 w 2342110"/>
              <a:gd name="connsiteY33" fmla="*/ 1013981 h 3049330"/>
              <a:gd name="connsiteX34" fmla="*/ 1966157 w 2342110"/>
              <a:gd name="connsiteY34" fmla="*/ 1044270 h 3049330"/>
              <a:gd name="connsiteX35" fmla="*/ 1774133 w 2342110"/>
              <a:gd name="connsiteY35" fmla="*/ 1331259 h 3049330"/>
              <a:gd name="connsiteX36" fmla="*/ 1516673 w 2342110"/>
              <a:gd name="connsiteY36" fmla="*/ 1777029 h 3049330"/>
              <a:gd name="connsiteX37" fmla="*/ 1524959 w 2342110"/>
              <a:gd name="connsiteY37" fmla="*/ 1929905 h 3049330"/>
              <a:gd name="connsiteX38" fmla="*/ 1908912 w 2342110"/>
              <a:gd name="connsiteY38" fmla="*/ 2130501 h 3049330"/>
              <a:gd name="connsiteX39" fmla="*/ 2284292 w 2342110"/>
              <a:gd name="connsiteY39" fmla="*/ 2534171 h 3049330"/>
              <a:gd name="connsiteX40" fmla="*/ 2342109 w 2342110"/>
              <a:gd name="connsiteY40" fmla="*/ 2937459 h 3049330"/>
              <a:gd name="connsiteX41" fmla="*/ 2231524 w 2342110"/>
              <a:gd name="connsiteY41" fmla="*/ 3049188 h 3049330"/>
              <a:gd name="connsiteX42" fmla="*/ 112307 w 2342110"/>
              <a:gd name="connsiteY42" fmla="*/ 3049188 h 3049330"/>
              <a:gd name="connsiteX43" fmla="*/ 7 w 2342110"/>
              <a:gd name="connsiteY43" fmla="*/ 2934602 h 3049330"/>
              <a:gd name="connsiteX44" fmla="*/ 99543 w 2342110"/>
              <a:gd name="connsiteY44" fmla="*/ 2415013 h 3049330"/>
              <a:gd name="connsiteX45" fmla="*/ 163075 w 2342110"/>
              <a:gd name="connsiteY45" fmla="*/ 2375484 h 3049330"/>
              <a:gd name="connsiteX46" fmla="*/ 183744 w 2342110"/>
              <a:gd name="connsiteY46" fmla="*/ 2447017 h 3049330"/>
              <a:gd name="connsiteX47" fmla="*/ 89637 w 2342110"/>
              <a:gd name="connsiteY47" fmla="*/ 2915171 h 3049330"/>
              <a:gd name="connsiteX48" fmla="*/ 132690 w 2342110"/>
              <a:gd name="connsiteY48" fmla="*/ 2962034 h 3049330"/>
              <a:gd name="connsiteX49" fmla="*/ 315284 w 2342110"/>
              <a:gd name="connsiteY49" fmla="*/ 2961272 h 3049330"/>
              <a:gd name="connsiteX50" fmla="*/ 649231 w 2342110"/>
              <a:gd name="connsiteY50" fmla="*/ 1051795 h 3049330"/>
              <a:gd name="connsiteX51" fmla="*/ 813347 w 2342110"/>
              <a:gd name="connsiteY51" fmla="*/ 1642345 h 3049330"/>
              <a:gd name="connsiteX52" fmla="*/ 1443616 w 2342110"/>
              <a:gd name="connsiteY52" fmla="*/ 1719593 h 3049330"/>
              <a:gd name="connsiteX53" fmla="*/ 1697933 w 2342110"/>
              <a:gd name="connsiteY53" fmla="*/ 1051795 h 3049330"/>
              <a:gd name="connsiteX54" fmla="*/ 649231 w 2342110"/>
              <a:gd name="connsiteY54" fmla="*/ 1051795 h 3049330"/>
              <a:gd name="connsiteX55" fmla="*/ 2027022 w 2342110"/>
              <a:gd name="connsiteY55" fmla="*/ 2960986 h 3049330"/>
              <a:gd name="connsiteX56" fmla="*/ 2230000 w 2342110"/>
              <a:gd name="connsiteY56" fmla="*/ 2959367 h 3049330"/>
              <a:gd name="connsiteX57" fmla="*/ 2252003 w 2342110"/>
              <a:gd name="connsiteY57" fmla="*/ 2923363 h 3049330"/>
              <a:gd name="connsiteX58" fmla="*/ 2142179 w 2342110"/>
              <a:gd name="connsiteY58" fmla="*/ 2406726 h 3049330"/>
              <a:gd name="connsiteX59" fmla="*/ 2026927 w 2342110"/>
              <a:gd name="connsiteY59" fmla="*/ 2279282 h 3049330"/>
              <a:gd name="connsiteX60" fmla="*/ 1670597 w 2342110"/>
              <a:gd name="connsiteY60" fmla="*/ 2134311 h 3049330"/>
              <a:gd name="connsiteX61" fmla="*/ 1642879 w 2342110"/>
              <a:gd name="connsiteY61" fmla="*/ 2188699 h 3049330"/>
              <a:gd name="connsiteX62" fmla="*/ 1494956 w 2342110"/>
              <a:gd name="connsiteY62" fmla="*/ 2496547 h 3049330"/>
              <a:gd name="connsiteX63" fmla="*/ 1333697 w 2342110"/>
              <a:gd name="connsiteY63" fmla="*/ 2533218 h 3049330"/>
              <a:gd name="connsiteX64" fmla="*/ 1222160 w 2342110"/>
              <a:gd name="connsiteY64" fmla="*/ 2442922 h 3049330"/>
              <a:gd name="connsiteX65" fmla="*/ 1222160 w 2342110"/>
              <a:gd name="connsiteY65" fmla="*/ 2958033 h 3049330"/>
              <a:gd name="connsiteX66" fmla="*/ 1379798 w 2342110"/>
              <a:gd name="connsiteY66" fmla="*/ 2958033 h 3049330"/>
              <a:gd name="connsiteX67" fmla="*/ 1379894 w 2342110"/>
              <a:gd name="connsiteY67" fmla="*/ 2865641 h 3049330"/>
              <a:gd name="connsiteX68" fmla="*/ 1455427 w 2342110"/>
              <a:gd name="connsiteY68" fmla="*/ 2790203 h 3049330"/>
              <a:gd name="connsiteX69" fmla="*/ 1707554 w 2342110"/>
              <a:gd name="connsiteY69" fmla="*/ 2790108 h 3049330"/>
              <a:gd name="connsiteX70" fmla="*/ 1788516 w 2342110"/>
              <a:gd name="connsiteY70" fmla="*/ 2871832 h 3049330"/>
              <a:gd name="connsiteX71" fmla="*/ 1788707 w 2342110"/>
              <a:gd name="connsiteY71" fmla="*/ 2957843 h 3049330"/>
              <a:gd name="connsiteX72" fmla="*/ 1935201 w 2342110"/>
              <a:gd name="connsiteY72" fmla="*/ 2957843 h 3049330"/>
              <a:gd name="connsiteX73" fmla="*/ 1911674 w 2342110"/>
              <a:gd name="connsiteY73" fmla="*/ 2794966 h 3049330"/>
              <a:gd name="connsiteX74" fmla="*/ 1942631 w 2342110"/>
              <a:gd name="connsiteY74" fmla="*/ 2726576 h 3049330"/>
              <a:gd name="connsiteX75" fmla="*/ 2000733 w 2342110"/>
              <a:gd name="connsiteY75" fmla="*/ 2778964 h 3049330"/>
              <a:gd name="connsiteX76" fmla="*/ 2027022 w 2342110"/>
              <a:gd name="connsiteY76" fmla="*/ 2960986 h 3049330"/>
              <a:gd name="connsiteX77" fmla="*/ 1294740 w 2342110"/>
              <a:gd name="connsiteY77" fmla="*/ 776999 h 3049330"/>
              <a:gd name="connsiteX78" fmla="*/ 1293978 w 2342110"/>
              <a:gd name="connsiteY78" fmla="*/ 181972 h 3049330"/>
              <a:gd name="connsiteX79" fmla="*/ 1186346 w 2342110"/>
              <a:gd name="connsiteY79" fmla="*/ 89389 h 3049330"/>
              <a:gd name="connsiteX80" fmla="*/ 1075760 w 2342110"/>
              <a:gd name="connsiteY80" fmla="*/ 184163 h 3049330"/>
              <a:gd name="connsiteX81" fmla="*/ 1073665 w 2342110"/>
              <a:gd name="connsiteY81" fmla="*/ 398380 h 3049330"/>
              <a:gd name="connsiteX82" fmla="*/ 1057663 w 2342110"/>
              <a:gd name="connsiteY82" fmla="*/ 450482 h 3049330"/>
              <a:gd name="connsiteX83" fmla="*/ 1016896 w 2342110"/>
              <a:gd name="connsiteY83" fmla="*/ 460483 h 3049330"/>
              <a:gd name="connsiteX84" fmla="*/ 984225 w 2342110"/>
              <a:gd name="connsiteY84" fmla="*/ 409715 h 3049330"/>
              <a:gd name="connsiteX85" fmla="*/ 982701 w 2342110"/>
              <a:gd name="connsiteY85" fmla="*/ 160065 h 3049330"/>
              <a:gd name="connsiteX86" fmla="*/ 959651 w 2342110"/>
              <a:gd name="connsiteY86" fmla="*/ 164160 h 3049330"/>
              <a:gd name="connsiteX87" fmla="*/ 585128 w 2342110"/>
              <a:gd name="connsiteY87" fmla="*/ 754329 h 3049330"/>
              <a:gd name="connsiteX88" fmla="*/ 610940 w 2342110"/>
              <a:gd name="connsiteY88" fmla="*/ 778047 h 3049330"/>
              <a:gd name="connsiteX89" fmla="*/ 982606 w 2342110"/>
              <a:gd name="connsiteY89" fmla="*/ 779094 h 3049330"/>
              <a:gd name="connsiteX90" fmla="*/ 982606 w 2342110"/>
              <a:gd name="connsiteY90" fmla="*/ 618693 h 3049330"/>
              <a:gd name="connsiteX91" fmla="*/ 1028897 w 2342110"/>
              <a:gd name="connsiteY91" fmla="*/ 554590 h 3049330"/>
              <a:gd name="connsiteX92" fmla="*/ 1074427 w 2342110"/>
              <a:gd name="connsiteY92" fmla="*/ 619551 h 3049330"/>
              <a:gd name="connsiteX93" fmla="*/ 1074427 w 2342110"/>
              <a:gd name="connsiteY93" fmla="*/ 776904 h 3049330"/>
              <a:gd name="connsiteX94" fmla="*/ 1294740 w 2342110"/>
              <a:gd name="connsiteY94" fmla="*/ 776999 h 3049330"/>
              <a:gd name="connsiteX95" fmla="*/ 1389609 w 2342110"/>
              <a:gd name="connsiteY95" fmla="*/ 779190 h 3049330"/>
              <a:gd name="connsiteX96" fmla="*/ 1742415 w 2342110"/>
              <a:gd name="connsiteY96" fmla="*/ 778999 h 3049330"/>
              <a:gd name="connsiteX97" fmla="*/ 1764132 w 2342110"/>
              <a:gd name="connsiteY97" fmla="*/ 775189 h 3049330"/>
              <a:gd name="connsiteX98" fmla="*/ 1389609 w 2342110"/>
              <a:gd name="connsiteY98" fmla="*/ 170352 h 3049330"/>
              <a:gd name="connsiteX99" fmla="*/ 1389609 w 2342110"/>
              <a:gd name="connsiteY99" fmla="*/ 779190 h 3049330"/>
              <a:gd name="connsiteX100" fmla="*/ 1171391 w 2342110"/>
              <a:gd name="connsiteY100" fmla="*/ 961403 h 3049330"/>
              <a:gd name="connsiteX101" fmla="*/ 1852143 w 2342110"/>
              <a:gd name="connsiteY101" fmla="*/ 961308 h 3049330"/>
              <a:gd name="connsiteX102" fmla="*/ 1894053 w 2342110"/>
              <a:gd name="connsiteY102" fmla="*/ 958926 h 3049330"/>
              <a:gd name="connsiteX103" fmla="*/ 1929105 w 2342110"/>
              <a:gd name="connsiteY103" fmla="*/ 911682 h 3049330"/>
              <a:gd name="connsiteX104" fmla="*/ 1889386 w 2342110"/>
              <a:gd name="connsiteY104" fmla="*/ 869106 h 3049330"/>
              <a:gd name="connsiteX105" fmla="*/ 1861382 w 2342110"/>
              <a:gd name="connsiteY105" fmla="*/ 868153 h 3049330"/>
              <a:gd name="connsiteX106" fmla="*/ 480734 w 2342110"/>
              <a:gd name="connsiteY106" fmla="*/ 868153 h 3049330"/>
              <a:gd name="connsiteX107" fmla="*/ 452730 w 2342110"/>
              <a:gd name="connsiteY107" fmla="*/ 869106 h 3049330"/>
              <a:gd name="connsiteX108" fmla="*/ 413297 w 2342110"/>
              <a:gd name="connsiteY108" fmla="*/ 911968 h 3049330"/>
              <a:gd name="connsiteX109" fmla="*/ 448634 w 2342110"/>
              <a:gd name="connsiteY109" fmla="*/ 959022 h 3049330"/>
              <a:gd name="connsiteX110" fmla="*/ 490544 w 2342110"/>
              <a:gd name="connsiteY110" fmla="*/ 961308 h 3049330"/>
              <a:gd name="connsiteX111" fmla="*/ 1171391 w 2342110"/>
              <a:gd name="connsiteY111" fmla="*/ 961403 h 3049330"/>
              <a:gd name="connsiteX112" fmla="*/ 1177106 w 2342110"/>
              <a:gd name="connsiteY112" fmla="*/ 2332622 h 3049330"/>
              <a:gd name="connsiteX113" fmla="*/ 1379608 w 2342110"/>
              <a:gd name="connsiteY113" fmla="*/ 1994770 h 3049330"/>
              <a:gd name="connsiteX114" fmla="*/ 1405516 w 2342110"/>
              <a:gd name="connsiteY114" fmla="*/ 1851419 h 3049330"/>
              <a:gd name="connsiteX115" fmla="*/ 930409 w 2342110"/>
              <a:gd name="connsiteY115" fmla="*/ 1847990 h 3049330"/>
              <a:gd name="connsiteX116" fmla="*/ 941458 w 2342110"/>
              <a:gd name="connsiteY116" fmla="*/ 1932572 h 3049330"/>
              <a:gd name="connsiteX117" fmla="*/ 1177106 w 2342110"/>
              <a:gd name="connsiteY117" fmla="*/ 2332622 h 3049330"/>
              <a:gd name="connsiteX118" fmla="*/ 761816 w 2342110"/>
              <a:gd name="connsiteY118" fmla="*/ 2088782 h 3049330"/>
              <a:gd name="connsiteX119" fmla="*/ 949459 w 2342110"/>
              <a:gd name="connsiteY119" fmla="*/ 2474640 h 3049330"/>
              <a:gd name="connsiteX120" fmla="*/ 1088810 w 2342110"/>
              <a:gd name="connsiteY120" fmla="*/ 2360816 h 3049330"/>
              <a:gd name="connsiteX121" fmla="*/ 877164 w 2342110"/>
              <a:gd name="connsiteY121" fmla="*/ 2005248 h 3049330"/>
              <a:gd name="connsiteX122" fmla="*/ 761816 w 2342110"/>
              <a:gd name="connsiteY122" fmla="*/ 2088782 h 3049330"/>
              <a:gd name="connsiteX123" fmla="*/ 1476572 w 2342110"/>
              <a:gd name="connsiteY123" fmla="*/ 2005724 h 3049330"/>
              <a:gd name="connsiteX124" fmla="*/ 1265975 w 2342110"/>
              <a:gd name="connsiteY124" fmla="*/ 2360911 h 3049330"/>
              <a:gd name="connsiteX125" fmla="*/ 1404849 w 2342110"/>
              <a:gd name="connsiteY125" fmla="*/ 2474449 h 3049330"/>
              <a:gd name="connsiteX126" fmla="*/ 1589729 w 2342110"/>
              <a:gd name="connsiteY126" fmla="*/ 2091354 h 3049330"/>
              <a:gd name="connsiteX127" fmla="*/ 1476572 w 2342110"/>
              <a:gd name="connsiteY127" fmla="*/ 2005724 h 3049330"/>
              <a:gd name="connsiteX128" fmla="*/ 1468190 w 2342110"/>
              <a:gd name="connsiteY128" fmla="*/ 2958129 h 3049330"/>
              <a:gd name="connsiteX129" fmla="*/ 1692980 w 2342110"/>
              <a:gd name="connsiteY129" fmla="*/ 2958129 h 3049330"/>
              <a:gd name="connsiteX130" fmla="*/ 1692980 w 2342110"/>
              <a:gd name="connsiteY130" fmla="*/ 2882976 h 3049330"/>
              <a:gd name="connsiteX131" fmla="*/ 1468190 w 2342110"/>
              <a:gd name="connsiteY131" fmla="*/ 2882976 h 3049330"/>
              <a:gd name="connsiteX132" fmla="*/ 1468190 w 2342110"/>
              <a:gd name="connsiteY132" fmla="*/ 2958129 h 3049330"/>
              <a:gd name="connsiteX133" fmla="*/ 1791564 w 2342110"/>
              <a:gd name="connsiteY133" fmla="*/ 1049985 h 3049330"/>
              <a:gd name="connsiteX134" fmla="*/ 1791564 w 2342110"/>
              <a:gd name="connsiteY134" fmla="*/ 1227531 h 3049330"/>
              <a:gd name="connsiteX135" fmla="*/ 1885957 w 2342110"/>
              <a:gd name="connsiteY135" fmla="*/ 1095324 h 3049330"/>
              <a:gd name="connsiteX136" fmla="*/ 1791564 w 2342110"/>
              <a:gd name="connsiteY136" fmla="*/ 1049985 h 3049330"/>
              <a:gd name="connsiteX137" fmla="*/ 551409 w 2342110"/>
              <a:gd name="connsiteY137" fmla="*/ 1040556 h 3049330"/>
              <a:gd name="connsiteX138" fmla="*/ 474638 w 2342110"/>
              <a:gd name="connsiteY138" fmla="*/ 1066749 h 3049330"/>
              <a:gd name="connsiteX139" fmla="*/ 551409 w 2342110"/>
              <a:gd name="connsiteY139" fmla="*/ 1223531 h 3049330"/>
              <a:gd name="connsiteX140" fmla="*/ 551409 w 2342110"/>
              <a:gd name="connsiteY140" fmla="*/ 1040556 h 3049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2342110" h="3049330">
                <a:moveTo>
                  <a:pt x="315284" y="2961272"/>
                </a:moveTo>
                <a:cubicBezTo>
                  <a:pt x="324619" y="2897074"/>
                  <a:pt x="332715" y="2839447"/>
                  <a:pt x="341383" y="2781821"/>
                </a:cubicBezTo>
                <a:cubicBezTo>
                  <a:pt x="346241" y="2749626"/>
                  <a:pt x="357766" y="2719147"/>
                  <a:pt x="397199" y="2726195"/>
                </a:cubicBezTo>
                <a:cubicBezTo>
                  <a:pt x="436061" y="2733148"/>
                  <a:pt x="436633" y="2763438"/>
                  <a:pt x="430537" y="2796871"/>
                </a:cubicBezTo>
                <a:cubicBezTo>
                  <a:pt x="421107" y="2849258"/>
                  <a:pt x="415297" y="2902217"/>
                  <a:pt x="407486" y="2958510"/>
                </a:cubicBezTo>
                <a:cubicBezTo>
                  <a:pt x="650660" y="2958510"/>
                  <a:pt x="886403" y="2958510"/>
                  <a:pt x="1125957" y="2958510"/>
                </a:cubicBezTo>
                <a:cubicBezTo>
                  <a:pt x="1125957" y="2790870"/>
                  <a:pt x="1125957" y="2625040"/>
                  <a:pt x="1125957" y="2449113"/>
                </a:cubicBezTo>
                <a:cubicBezTo>
                  <a:pt x="1089667" y="2478164"/>
                  <a:pt x="1057568" y="2504072"/>
                  <a:pt x="1025278" y="2529694"/>
                </a:cubicBezTo>
                <a:cubicBezTo>
                  <a:pt x="947649" y="2591416"/>
                  <a:pt x="900691" y="2581034"/>
                  <a:pt x="857924" y="2493023"/>
                </a:cubicBezTo>
                <a:cubicBezTo>
                  <a:pt x="799821" y="2373675"/>
                  <a:pt x="741814" y="2254422"/>
                  <a:pt x="678758" y="2124977"/>
                </a:cubicBezTo>
                <a:cubicBezTo>
                  <a:pt x="539408" y="2188032"/>
                  <a:pt x="402724" y="2248516"/>
                  <a:pt x="267564" y="2312238"/>
                </a:cubicBezTo>
                <a:cubicBezTo>
                  <a:pt x="240132" y="2325192"/>
                  <a:pt x="215462" y="2330336"/>
                  <a:pt x="202699" y="2303761"/>
                </a:cubicBezTo>
                <a:cubicBezTo>
                  <a:pt x="195174" y="2287950"/>
                  <a:pt x="199841" y="2253088"/>
                  <a:pt x="212224" y="2243468"/>
                </a:cubicBezTo>
                <a:cubicBezTo>
                  <a:pt x="247752" y="2215560"/>
                  <a:pt x="288043" y="2191747"/>
                  <a:pt x="329762" y="2174031"/>
                </a:cubicBezTo>
                <a:cubicBezTo>
                  <a:pt x="425774" y="2133073"/>
                  <a:pt x="526168" y="2101831"/>
                  <a:pt x="619989" y="2056778"/>
                </a:cubicBezTo>
                <a:cubicBezTo>
                  <a:pt x="693332" y="2021535"/>
                  <a:pt x="760768" y="1973244"/>
                  <a:pt x="828587" y="1927333"/>
                </a:cubicBezTo>
                <a:cubicBezTo>
                  <a:pt x="857447" y="1907807"/>
                  <a:pt x="852685" y="1797984"/>
                  <a:pt x="823919" y="1775124"/>
                </a:cubicBezTo>
                <a:cubicBezTo>
                  <a:pt x="687426" y="1666634"/>
                  <a:pt x="610750" y="1522902"/>
                  <a:pt x="572269" y="1355643"/>
                </a:cubicBezTo>
                <a:cubicBezTo>
                  <a:pt x="569507" y="1343736"/>
                  <a:pt x="557886" y="1328592"/>
                  <a:pt x="546932" y="1324591"/>
                </a:cubicBezTo>
                <a:cubicBezTo>
                  <a:pt x="404724" y="1272108"/>
                  <a:pt x="361576" y="1202481"/>
                  <a:pt x="380340" y="1054081"/>
                </a:cubicBezTo>
                <a:cubicBezTo>
                  <a:pt x="381674" y="1043889"/>
                  <a:pt x="377102" y="1028935"/>
                  <a:pt x="369767" y="1022363"/>
                </a:cubicBezTo>
                <a:cubicBezTo>
                  <a:pt x="320047" y="977595"/>
                  <a:pt x="309093" y="922731"/>
                  <a:pt x="330524" y="862629"/>
                </a:cubicBezTo>
                <a:cubicBezTo>
                  <a:pt x="352622" y="800716"/>
                  <a:pt x="402629" y="777856"/>
                  <a:pt x="465875" y="779190"/>
                </a:cubicBezTo>
                <a:cubicBezTo>
                  <a:pt x="473495" y="779380"/>
                  <a:pt x="481210" y="777666"/>
                  <a:pt x="490068" y="776713"/>
                </a:cubicBezTo>
                <a:cubicBezTo>
                  <a:pt x="494640" y="708895"/>
                  <a:pt x="493878" y="642220"/>
                  <a:pt x="504451" y="577450"/>
                </a:cubicBezTo>
                <a:cubicBezTo>
                  <a:pt x="548552" y="307512"/>
                  <a:pt x="751148" y="105486"/>
                  <a:pt x="1021087" y="56147"/>
                </a:cubicBezTo>
                <a:cubicBezTo>
                  <a:pt x="1035946" y="53480"/>
                  <a:pt x="1050519" y="45288"/>
                  <a:pt x="1063473" y="36906"/>
                </a:cubicBezTo>
                <a:cubicBezTo>
                  <a:pt x="1142626" y="-14243"/>
                  <a:pt x="1233685" y="-11766"/>
                  <a:pt x="1313123" y="41478"/>
                </a:cubicBezTo>
                <a:cubicBezTo>
                  <a:pt x="1331888" y="54051"/>
                  <a:pt x="1355795" y="60052"/>
                  <a:pt x="1378179" y="66148"/>
                </a:cubicBezTo>
                <a:cubicBezTo>
                  <a:pt x="1672692" y="146158"/>
                  <a:pt x="1857096" y="385426"/>
                  <a:pt x="1858525" y="690417"/>
                </a:cubicBezTo>
                <a:cubicBezTo>
                  <a:pt x="1858620" y="717277"/>
                  <a:pt x="1858525" y="744042"/>
                  <a:pt x="1858525" y="773094"/>
                </a:cubicBezTo>
                <a:cubicBezTo>
                  <a:pt x="1871574" y="775665"/>
                  <a:pt x="1881956" y="779190"/>
                  <a:pt x="1892529" y="779571"/>
                </a:cubicBezTo>
                <a:cubicBezTo>
                  <a:pt x="1951013" y="781952"/>
                  <a:pt x="1993399" y="809289"/>
                  <a:pt x="2012354" y="864438"/>
                </a:cubicBezTo>
                <a:cubicBezTo>
                  <a:pt x="2031118" y="918921"/>
                  <a:pt x="2023022" y="970261"/>
                  <a:pt x="1981397" y="1013981"/>
                </a:cubicBezTo>
                <a:cubicBezTo>
                  <a:pt x="1973777" y="1021982"/>
                  <a:pt x="1965205" y="1034650"/>
                  <a:pt x="1966157" y="1044270"/>
                </a:cubicBezTo>
                <a:cubicBezTo>
                  <a:pt x="1983398" y="1220864"/>
                  <a:pt x="1940249" y="1286396"/>
                  <a:pt x="1774133" y="1331259"/>
                </a:cubicBezTo>
                <a:cubicBezTo>
                  <a:pt x="1739843" y="1508900"/>
                  <a:pt x="1661167" y="1661776"/>
                  <a:pt x="1516673" y="1777029"/>
                </a:cubicBezTo>
                <a:cubicBezTo>
                  <a:pt x="1482002" y="1804651"/>
                  <a:pt x="1491717" y="1899234"/>
                  <a:pt x="1524959" y="1929905"/>
                </a:cubicBezTo>
                <a:cubicBezTo>
                  <a:pt x="1635068" y="2031441"/>
                  <a:pt x="1769561" y="2090973"/>
                  <a:pt x="1908912" y="2130501"/>
                </a:cubicBezTo>
                <a:cubicBezTo>
                  <a:pt x="2120558" y="2190414"/>
                  <a:pt x="2235143" y="2326907"/>
                  <a:pt x="2284292" y="2534171"/>
                </a:cubicBezTo>
                <a:cubicBezTo>
                  <a:pt x="2315820" y="2667235"/>
                  <a:pt x="2342300" y="2800204"/>
                  <a:pt x="2342109" y="2937459"/>
                </a:cubicBezTo>
                <a:cubicBezTo>
                  <a:pt x="2342014" y="3011945"/>
                  <a:pt x="2305533" y="3049188"/>
                  <a:pt x="2231524" y="3049188"/>
                </a:cubicBezTo>
                <a:cubicBezTo>
                  <a:pt x="1525150" y="3049378"/>
                  <a:pt x="818681" y="3049378"/>
                  <a:pt x="112307" y="3049188"/>
                </a:cubicBezTo>
                <a:cubicBezTo>
                  <a:pt x="35154" y="3049188"/>
                  <a:pt x="-565" y="3012516"/>
                  <a:pt x="7" y="2934602"/>
                </a:cubicBezTo>
                <a:cubicBezTo>
                  <a:pt x="1340" y="2755341"/>
                  <a:pt x="36011" y="2582463"/>
                  <a:pt x="99543" y="2415013"/>
                </a:cubicBezTo>
                <a:cubicBezTo>
                  <a:pt x="111354" y="2383962"/>
                  <a:pt x="129547" y="2363007"/>
                  <a:pt x="163075" y="2375484"/>
                </a:cubicBezTo>
                <a:cubicBezTo>
                  <a:pt x="197365" y="2388248"/>
                  <a:pt x="195365" y="2416442"/>
                  <a:pt x="183744" y="2447017"/>
                </a:cubicBezTo>
                <a:cubicBezTo>
                  <a:pt x="126308" y="2597703"/>
                  <a:pt x="95828" y="2753817"/>
                  <a:pt x="89637" y="2915171"/>
                </a:cubicBezTo>
                <a:cubicBezTo>
                  <a:pt x="88303" y="2950318"/>
                  <a:pt x="95447" y="2963749"/>
                  <a:pt x="132690" y="2962034"/>
                </a:cubicBezTo>
                <a:cubicBezTo>
                  <a:pt x="193079" y="2959272"/>
                  <a:pt x="253372" y="2961272"/>
                  <a:pt x="315284" y="2961272"/>
                </a:cubicBezTo>
                <a:close/>
                <a:moveTo>
                  <a:pt x="649231" y="1051795"/>
                </a:moveTo>
                <a:cubicBezTo>
                  <a:pt x="617417" y="1266393"/>
                  <a:pt x="682283" y="1496613"/>
                  <a:pt x="813347" y="1642345"/>
                </a:cubicBezTo>
                <a:cubicBezTo>
                  <a:pt x="991369" y="1840179"/>
                  <a:pt x="1243591" y="1871993"/>
                  <a:pt x="1443616" y="1719593"/>
                </a:cubicBezTo>
                <a:cubicBezTo>
                  <a:pt x="1665644" y="1550429"/>
                  <a:pt x="1711268" y="1314018"/>
                  <a:pt x="1697933" y="1051795"/>
                </a:cubicBezTo>
                <a:cubicBezTo>
                  <a:pt x="1345604" y="1051795"/>
                  <a:pt x="998513" y="1051795"/>
                  <a:pt x="649231" y="1051795"/>
                </a:cubicBezTo>
                <a:close/>
                <a:moveTo>
                  <a:pt x="2027022" y="2960986"/>
                </a:moveTo>
                <a:cubicBezTo>
                  <a:pt x="2094459" y="2960986"/>
                  <a:pt x="2162277" y="2962224"/>
                  <a:pt x="2230000" y="2959367"/>
                </a:cubicBezTo>
                <a:cubicBezTo>
                  <a:pt x="2238191" y="2958986"/>
                  <a:pt x="2252384" y="2935745"/>
                  <a:pt x="2252003" y="2923363"/>
                </a:cubicBezTo>
                <a:cubicBezTo>
                  <a:pt x="2247335" y="2744483"/>
                  <a:pt x="2211902" y="2571890"/>
                  <a:pt x="2142179" y="2406726"/>
                </a:cubicBezTo>
                <a:cubicBezTo>
                  <a:pt x="2118653" y="2351005"/>
                  <a:pt x="2083124" y="2303380"/>
                  <a:pt x="2026927" y="2279282"/>
                </a:cubicBezTo>
                <a:cubicBezTo>
                  <a:pt x="1909769" y="2229085"/>
                  <a:pt x="1790897" y="2182984"/>
                  <a:pt x="1670597" y="2134311"/>
                </a:cubicBezTo>
                <a:cubicBezTo>
                  <a:pt x="1659929" y="2155266"/>
                  <a:pt x="1650975" y="2171840"/>
                  <a:pt x="1642879" y="2188699"/>
                </a:cubicBezTo>
                <a:cubicBezTo>
                  <a:pt x="1593539" y="2291283"/>
                  <a:pt x="1544486" y="2394058"/>
                  <a:pt x="1494956" y="2496547"/>
                </a:cubicBezTo>
                <a:cubicBezTo>
                  <a:pt x="1455236" y="2578843"/>
                  <a:pt x="1404278" y="2590178"/>
                  <a:pt x="1333697" y="2533218"/>
                </a:cubicBezTo>
                <a:cubicBezTo>
                  <a:pt x="1297598" y="2504072"/>
                  <a:pt x="1261498" y="2474735"/>
                  <a:pt x="1222160" y="2442922"/>
                </a:cubicBezTo>
                <a:cubicBezTo>
                  <a:pt x="1222160" y="2619610"/>
                  <a:pt x="1222160" y="2788393"/>
                  <a:pt x="1222160" y="2958033"/>
                </a:cubicBezTo>
                <a:cubicBezTo>
                  <a:pt x="1275309" y="2958033"/>
                  <a:pt x="1325220" y="2958033"/>
                  <a:pt x="1379798" y="2958033"/>
                </a:cubicBezTo>
                <a:cubicBezTo>
                  <a:pt x="1379798" y="2925077"/>
                  <a:pt x="1379132" y="2895359"/>
                  <a:pt x="1379894" y="2865641"/>
                </a:cubicBezTo>
                <a:cubicBezTo>
                  <a:pt x="1381227" y="2812682"/>
                  <a:pt x="1402468" y="2790774"/>
                  <a:pt x="1455427" y="2790203"/>
                </a:cubicBezTo>
                <a:cubicBezTo>
                  <a:pt x="1539437" y="2789250"/>
                  <a:pt x="1623543" y="2789441"/>
                  <a:pt x="1707554" y="2790108"/>
                </a:cubicBezTo>
                <a:cubicBezTo>
                  <a:pt x="1764132" y="2790584"/>
                  <a:pt x="1786706" y="2813825"/>
                  <a:pt x="1788516" y="2871832"/>
                </a:cubicBezTo>
                <a:cubicBezTo>
                  <a:pt x="1789373" y="2899836"/>
                  <a:pt x="1788707" y="2927934"/>
                  <a:pt x="1788707" y="2957843"/>
                </a:cubicBezTo>
                <a:cubicBezTo>
                  <a:pt x="1839380" y="2957843"/>
                  <a:pt x="1884338" y="2957843"/>
                  <a:pt x="1935201" y="2957843"/>
                </a:cubicBezTo>
                <a:cubicBezTo>
                  <a:pt x="1927200" y="2900788"/>
                  <a:pt x="1921390" y="2847543"/>
                  <a:pt x="1911674" y="2794966"/>
                </a:cubicBezTo>
                <a:cubicBezTo>
                  <a:pt x="1905769" y="2762866"/>
                  <a:pt x="1907864" y="2734577"/>
                  <a:pt x="1942631" y="2726576"/>
                </a:cubicBezTo>
                <a:cubicBezTo>
                  <a:pt x="1981397" y="2717623"/>
                  <a:pt x="1995685" y="2746102"/>
                  <a:pt x="2000733" y="2778964"/>
                </a:cubicBezTo>
                <a:cubicBezTo>
                  <a:pt x="2009496" y="2836590"/>
                  <a:pt x="2017402" y="2894502"/>
                  <a:pt x="2027022" y="2960986"/>
                </a:cubicBezTo>
                <a:close/>
                <a:moveTo>
                  <a:pt x="1294740" y="776999"/>
                </a:moveTo>
                <a:cubicBezTo>
                  <a:pt x="1294740" y="575355"/>
                  <a:pt x="1295883" y="378663"/>
                  <a:pt x="1293978" y="181972"/>
                </a:cubicBezTo>
                <a:cubicBezTo>
                  <a:pt x="1293407" y="127870"/>
                  <a:pt x="1244924" y="90056"/>
                  <a:pt x="1186346" y="89389"/>
                </a:cubicBezTo>
                <a:cubicBezTo>
                  <a:pt x="1126148" y="88722"/>
                  <a:pt x="1078142" y="127299"/>
                  <a:pt x="1075760" y="184163"/>
                </a:cubicBezTo>
                <a:cubicBezTo>
                  <a:pt x="1072808" y="255505"/>
                  <a:pt x="1075570" y="327038"/>
                  <a:pt x="1073665" y="398380"/>
                </a:cubicBezTo>
                <a:cubicBezTo>
                  <a:pt x="1073189" y="416192"/>
                  <a:pt x="1068140" y="436956"/>
                  <a:pt x="1057663" y="450482"/>
                </a:cubicBezTo>
                <a:cubicBezTo>
                  <a:pt x="1050519" y="459626"/>
                  <a:pt x="1023944" y="466198"/>
                  <a:pt x="1016896" y="460483"/>
                </a:cubicBezTo>
                <a:cubicBezTo>
                  <a:pt x="1001751" y="448101"/>
                  <a:pt x="984892" y="427527"/>
                  <a:pt x="984225" y="409715"/>
                </a:cubicBezTo>
                <a:cubicBezTo>
                  <a:pt x="980796" y="327609"/>
                  <a:pt x="982701" y="245218"/>
                  <a:pt x="982701" y="160065"/>
                </a:cubicBezTo>
                <a:cubicBezTo>
                  <a:pt x="974224" y="161493"/>
                  <a:pt x="966604" y="161779"/>
                  <a:pt x="959651" y="164160"/>
                </a:cubicBezTo>
                <a:cubicBezTo>
                  <a:pt x="708953" y="249314"/>
                  <a:pt x="564554" y="479819"/>
                  <a:pt x="585128" y="754329"/>
                </a:cubicBezTo>
                <a:cubicBezTo>
                  <a:pt x="585794" y="763188"/>
                  <a:pt x="601892" y="777951"/>
                  <a:pt x="610940" y="778047"/>
                </a:cubicBezTo>
                <a:cubicBezTo>
                  <a:pt x="732765" y="779666"/>
                  <a:pt x="854590" y="779094"/>
                  <a:pt x="982606" y="779094"/>
                </a:cubicBezTo>
                <a:cubicBezTo>
                  <a:pt x="982606" y="722421"/>
                  <a:pt x="982606" y="670605"/>
                  <a:pt x="982606" y="618693"/>
                </a:cubicBezTo>
                <a:cubicBezTo>
                  <a:pt x="982606" y="586023"/>
                  <a:pt x="989083" y="554209"/>
                  <a:pt x="1028897" y="554590"/>
                </a:cubicBezTo>
                <a:cubicBezTo>
                  <a:pt x="1068521" y="554971"/>
                  <a:pt x="1074427" y="586975"/>
                  <a:pt x="1074427" y="619551"/>
                </a:cubicBezTo>
                <a:cubicBezTo>
                  <a:pt x="1074332" y="671271"/>
                  <a:pt x="1074427" y="722992"/>
                  <a:pt x="1074427" y="776904"/>
                </a:cubicBezTo>
                <a:cubicBezTo>
                  <a:pt x="1150436" y="776999"/>
                  <a:pt x="1219588" y="776999"/>
                  <a:pt x="1294740" y="776999"/>
                </a:cubicBezTo>
                <a:close/>
                <a:moveTo>
                  <a:pt x="1389609" y="779190"/>
                </a:moveTo>
                <a:cubicBezTo>
                  <a:pt x="1511529" y="779190"/>
                  <a:pt x="1626972" y="779285"/>
                  <a:pt x="1742415" y="778999"/>
                </a:cubicBezTo>
                <a:cubicBezTo>
                  <a:pt x="1749940" y="778999"/>
                  <a:pt x="1757465" y="776427"/>
                  <a:pt x="1764132" y="775189"/>
                </a:cubicBezTo>
                <a:cubicBezTo>
                  <a:pt x="1809662" y="510108"/>
                  <a:pt x="1604017" y="180258"/>
                  <a:pt x="1389609" y="170352"/>
                </a:cubicBezTo>
                <a:cubicBezTo>
                  <a:pt x="1389609" y="371234"/>
                  <a:pt x="1389609" y="572021"/>
                  <a:pt x="1389609" y="779190"/>
                </a:cubicBezTo>
                <a:close/>
                <a:moveTo>
                  <a:pt x="1171391" y="961403"/>
                </a:moveTo>
                <a:cubicBezTo>
                  <a:pt x="1398277" y="961403"/>
                  <a:pt x="1625258" y="961403"/>
                  <a:pt x="1852143" y="961308"/>
                </a:cubicBezTo>
                <a:cubicBezTo>
                  <a:pt x="1866431" y="961308"/>
                  <a:pt x="1884719" y="965975"/>
                  <a:pt x="1894053" y="958926"/>
                </a:cubicBezTo>
                <a:cubicBezTo>
                  <a:pt x="1909769" y="947115"/>
                  <a:pt x="1929677" y="927399"/>
                  <a:pt x="1929105" y="911682"/>
                </a:cubicBezTo>
                <a:cubicBezTo>
                  <a:pt x="1928534" y="896823"/>
                  <a:pt x="1905102" y="881298"/>
                  <a:pt x="1889386" y="869106"/>
                </a:cubicBezTo>
                <a:cubicBezTo>
                  <a:pt x="1883385" y="864438"/>
                  <a:pt x="1870907" y="868153"/>
                  <a:pt x="1861382" y="868153"/>
                </a:cubicBezTo>
                <a:cubicBezTo>
                  <a:pt x="1401134" y="868153"/>
                  <a:pt x="940982" y="868153"/>
                  <a:pt x="480734" y="868153"/>
                </a:cubicBezTo>
                <a:cubicBezTo>
                  <a:pt x="471209" y="868153"/>
                  <a:pt x="458636" y="864438"/>
                  <a:pt x="452730" y="869106"/>
                </a:cubicBezTo>
                <a:cubicBezTo>
                  <a:pt x="437109" y="881393"/>
                  <a:pt x="413773" y="897014"/>
                  <a:pt x="413297" y="911968"/>
                </a:cubicBezTo>
                <a:cubicBezTo>
                  <a:pt x="412820" y="927684"/>
                  <a:pt x="432918" y="947306"/>
                  <a:pt x="448634" y="959022"/>
                </a:cubicBezTo>
                <a:cubicBezTo>
                  <a:pt x="457969" y="965975"/>
                  <a:pt x="476257" y="961308"/>
                  <a:pt x="490544" y="961308"/>
                </a:cubicBezTo>
                <a:cubicBezTo>
                  <a:pt x="717525" y="961403"/>
                  <a:pt x="944506" y="961403"/>
                  <a:pt x="1171391" y="961403"/>
                </a:cubicBezTo>
                <a:close/>
                <a:moveTo>
                  <a:pt x="1177106" y="2332622"/>
                </a:moveTo>
                <a:cubicBezTo>
                  <a:pt x="1247687" y="2214226"/>
                  <a:pt x="1311504" y="2103165"/>
                  <a:pt x="1379608" y="1994770"/>
                </a:cubicBezTo>
                <a:cubicBezTo>
                  <a:pt x="1407707" y="1950098"/>
                  <a:pt x="1415136" y="1905426"/>
                  <a:pt x="1405516" y="1851419"/>
                </a:cubicBezTo>
                <a:cubicBezTo>
                  <a:pt x="1249115" y="1923618"/>
                  <a:pt x="1092905" y="1923523"/>
                  <a:pt x="930409" y="1847990"/>
                </a:cubicBezTo>
                <a:cubicBezTo>
                  <a:pt x="934219" y="1881327"/>
                  <a:pt x="929552" y="1911617"/>
                  <a:pt x="941458" y="1932572"/>
                </a:cubicBezTo>
                <a:cubicBezTo>
                  <a:pt x="1016515" y="2064684"/>
                  <a:pt x="1095191" y="2194700"/>
                  <a:pt x="1177106" y="2332622"/>
                </a:cubicBezTo>
                <a:close/>
                <a:moveTo>
                  <a:pt x="761816" y="2088782"/>
                </a:moveTo>
                <a:cubicBezTo>
                  <a:pt x="825348" y="2219370"/>
                  <a:pt x="886022" y="2344242"/>
                  <a:pt x="949459" y="2474640"/>
                </a:cubicBezTo>
                <a:cubicBezTo>
                  <a:pt x="997846" y="2435111"/>
                  <a:pt x="1042613" y="2398535"/>
                  <a:pt x="1088810" y="2360816"/>
                </a:cubicBezTo>
                <a:cubicBezTo>
                  <a:pt x="1017277" y="2240611"/>
                  <a:pt x="948125" y="2124405"/>
                  <a:pt x="877164" y="2005248"/>
                </a:cubicBezTo>
                <a:cubicBezTo>
                  <a:pt x="836111" y="2035061"/>
                  <a:pt x="800488" y="2060778"/>
                  <a:pt x="761816" y="2088782"/>
                </a:cubicBezTo>
                <a:close/>
                <a:moveTo>
                  <a:pt x="1476572" y="2005724"/>
                </a:moveTo>
                <a:cubicBezTo>
                  <a:pt x="1404659" y="2126977"/>
                  <a:pt x="1335888" y="2242992"/>
                  <a:pt x="1265975" y="2360911"/>
                </a:cubicBezTo>
                <a:cubicBezTo>
                  <a:pt x="1312933" y="2399297"/>
                  <a:pt x="1356653" y="2435016"/>
                  <a:pt x="1404849" y="2474449"/>
                </a:cubicBezTo>
                <a:cubicBezTo>
                  <a:pt x="1467714" y="2344242"/>
                  <a:pt x="1528293" y="2218608"/>
                  <a:pt x="1589729" y="2091354"/>
                </a:cubicBezTo>
                <a:cubicBezTo>
                  <a:pt x="1552391" y="2063160"/>
                  <a:pt x="1517339" y="2036585"/>
                  <a:pt x="1476572" y="2005724"/>
                </a:cubicBezTo>
                <a:close/>
                <a:moveTo>
                  <a:pt x="1468190" y="2958129"/>
                </a:moveTo>
                <a:cubicBezTo>
                  <a:pt x="1545914" y="2958129"/>
                  <a:pt x="1619352" y="2958129"/>
                  <a:pt x="1692980" y="2958129"/>
                </a:cubicBezTo>
                <a:cubicBezTo>
                  <a:pt x="1692980" y="2930697"/>
                  <a:pt x="1692980" y="2906503"/>
                  <a:pt x="1692980" y="2882976"/>
                </a:cubicBezTo>
                <a:cubicBezTo>
                  <a:pt x="1615733" y="2882976"/>
                  <a:pt x="1542485" y="2882976"/>
                  <a:pt x="1468190" y="2882976"/>
                </a:cubicBezTo>
                <a:cubicBezTo>
                  <a:pt x="1468190" y="2908884"/>
                  <a:pt x="1468190" y="2930887"/>
                  <a:pt x="1468190" y="2958129"/>
                </a:cubicBezTo>
                <a:close/>
                <a:moveTo>
                  <a:pt x="1791564" y="1049985"/>
                </a:moveTo>
                <a:cubicBezTo>
                  <a:pt x="1791564" y="1111993"/>
                  <a:pt x="1791564" y="1169429"/>
                  <a:pt x="1791564" y="1227531"/>
                </a:cubicBezTo>
                <a:cubicBezTo>
                  <a:pt x="1857382" y="1213244"/>
                  <a:pt x="1892719" y="1160475"/>
                  <a:pt x="1885957" y="1095324"/>
                </a:cubicBezTo>
                <a:cubicBezTo>
                  <a:pt x="1879385" y="1031602"/>
                  <a:pt x="1833569" y="1052081"/>
                  <a:pt x="1791564" y="1049985"/>
                </a:cubicBezTo>
                <a:close/>
                <a:moveTo>
                  <a:pt x="551409" y="1040556"/>
                </a:moveTo>
                <a:cubicBezTo>
                  <a:pt x="519977" y="1050462"/>
                  <a:pt x="486353" y="1050652"/>
                  <a:pt x="474638" y="1066749"/>
                </a:cubicBezTo>
                <a:cubicBezTo>
                  <a:pt x="435014" y="1120756"/>
                  <a:pt x="482353" y="1212006"/>
                  <a:pt x="551409" y="1223531"/>
                </a:cubicBezTo>
                <a:cubicBezTo>
                  <a:pt x="551409" y="1167333"/>
                  <a:pt x="551409" y="1111041"/>
                  <a:pt x="551409" y="1040556"/>
                </a:cubicBez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3B68EA-93ED-C269-4796-0F84830A03A9}"/>
              </a:ext>
            </a:extLst>
          </p:cNvPr>
          <p:cNvSpPr txBox="1"/>
          <p:nvPr/>
        </p:nvSpPr>
        <p:spPr>
          <a:xfrm>
            <a:off x="571628" y="6158949"/>
            <a:ext cx="61055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US" sz="11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the International Standard Classification of Occupations (ISCO-08)</a:t>
            </a:r>
            <a:endParaRPr lang="ar-SA" sz="1100" dirty="0">
              <a:solidFill>
                <a:srgbClr val="134258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7488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793903" y="1025812"/>
            <a:ext cx="10617164" cy="3139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defRPr/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treamlining the Journey: Transforming the Verification Process into a Fully Automated System</a:t>
            </a:r>
            <a:endParaRPr lang="ar-SA" sz="1600" b="1" dirty="0">
              <a:solidFill>
                <a:schemeClr val="bg1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. </a:t>
            </a:r>
            <a:r>
              <a:rPr lang="fr-FR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fications 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F381CE-DC13-97DD-5CB7-E82A431A08E8}"/>
              </a:ext>
            </a:extLst>
          </p:cNvPr>
          <p:cNvSpPr/>
          <p:nvPr/>
        </p:nvSpPr>
        <p:spPr>
          <a:xfrm>
            <a:off x="564655" y="1804632"/>
            <a:ext cx="11077765" cy="18231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213B33-5895-56AB-AFFC-2C3F3A735C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317" y="2157082"/>
            <a:ext cx="2148150" cy="125633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66F1477-6BFB-28C1-2F6C-A481D085E700}"/>
              </a:ext>
            </a:extLst>
          </p:cNvPr>
          <p:cNvSpPr/>
          <p:nvPr/>
        </p:nvSpPr>
        <p:spPr>
          <a:xfrm>
            <a:off x="555326" y="3830897"/>
            <a:ext cx="11077765" cy="1823133"/>
          </a:xfrm>
          <a:prstGeom prst="rect">
            <a:avLst/>
          </a:prstGeom>
          <a:solidFill>
            <a:srgbClr val="23898B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3BEAD7-E62C-935D-226C-D5B47BF94A7E}"/>
              </a:ext>
            </a:extLst>
          </p:cNvPr>
          <p:cNvSpPr txBox="1"/>
          <p:nvPr/>
        </p:nvSpPr>
        <p:spPr>
          <a:xfrm>
            <a:off x="5205795" y="1826576"/>
            <a:ext cx="12681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viou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5CEC49A-40E6-CC68-9D57-0B76F626DE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9317" y="4206117"/>
            <a:ext cx="2148150" cy="125941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0E3F5D7-DFB3-235D-DF6A-809C701C6E98}"/>
              </a:ext>
            </a:extLst>
          </p:cNvPr>
          <p:cNvSpPr txBox="1"/>
          <p:nvPr/>
        </p:nvSpPr>
        <p:spPr>
          <a:xfrm>
            <a:off x="5250184" y="3920412"/>
            <a:ext cx="12681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E8003B4-649C-D19C-19BE-B9A700522743}"/>
              </a:ext>
            </a:extLst>
          </p:cNvPr>
          <p:cNvSpPr/>
          <p:nvPr/>
        </p:nvSpPr>
        <p:spPr>
          <a:xfrm>
            <a:off x="3537604" y="2493860"/>
            <a:ext cx="502920" cy="5285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5F4DF6-5A4D-2A96-B5ED-B49FD57D6CF1}"/>
              </a:ext>
            </a:extLst>
          </p:cNvPr>
          <p:cNvSpPr txBox="1"/>
          <p:nvPr/>
        </p:nvSpPr>
        <p:spPr>
          <a:xfrm>
            <a:off x="4087471" y="2489515"/>
            <a:ext cx="16000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cess in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eps</a:t>
            </a:r>
          </a:p>
        </p:txBody>
      </p:sp>
      <p:pic>
        <p:nvPicPr>
          <p:cNvPr id="29" name="Graphic 28" descr="Workflow outline">
            <a:extLst>
              <a:ext uri="{FF2B5EF4-FFF2-40B4-BE49-F238E27FC236}">
                <a16:creationId xmlns:a16="http://schemas.microsoft.com/office/drawing/2014/main" id="{A176A867-BD7F-30B6-9AE6-B15A7AC40B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95945" y="2553275"/>
            <a:ext cx="409028" cy="409028"/>
          </a:xfrm>
          <a:prstGeom prst="rect">
            <a:avLst/>
          </a:prstGeom>
        </p:spPr>
      </p:pic>
      <p:sp>
        <p:nvSpPr>
          <p:cNvPr id="48" name="Oval 47">
            <a:extLst>
              <a:ext uri="{FF2B5EF4-FFF2-40B4-BE49-F238E27FC236}">
                <a16:creationId xmlns:a16="http://schemas.microsoft.com/office/drawing/2014/main" id="{CBE98F7F-F71D-DA09-3ABB-CB0A9D05FE37}"/>
              </a:ext>
            </a:extLst>
          </p:cNvPr>
          <p:cNvSpPr/>
          <p:nvPr/>
        </p:nvSpPr>
        <p:spPr>
          <a:xfrm>
            <a:off x="6054335" y="2493860"/>
            <a:ext cx="502920" cy="5285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74C8B9D-EC0D-A1FF-AC2C-E374A5F79395}"/>
              </a:ext>
            </a:extLst>
          </p:cNvPr>
          <p:cNvSpPr txBox="1"/>
          <p:nvPr/>
        </p:nvSpPr>
        <p:spPr>
          <a:xfrm>
            <a:off x="6604202" y="2489515"/>
            <a:ext cx="20734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e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hodologies with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ying durations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D10C93A4-6BFC-AAFB-B9B8-D5C63BCB0334}"/>
              </a:ext>
            </a:extLst>
          </p:cNvPr>
          <p:cNvSpPr/>
          <p:nvPr/>
        </p:nvSpPr>
        <p:spPr>
          <a:xfrm>
            <a:off x="8990639" y="2493860"/>
            <a:ext cx="502920" cy="5285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A7EA365-497C-6D19-F7AB-150349A7028F}"/>
              </a:ext>
            </a:extLst>
          </p:cNvPr>
          <p:cNvSpPr txBox="1"/>
          <p:nvPr/>
        </p:nvSpPr>
        <p:spPr>
          <a:xfrm>
            <a:off x="9540505" y="2489515"/>
            <a:ext cx="175168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ply from 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of origin</a:t>
            </a:r>
          </a:p>
        </p:txBody>
      </p:sp>
      <p:pic>
        <p:nvPicPr>
          <p:cNvPr id="178" name="Graphic 177" descr="Earth Globe - Asia with solid fill">
            <a:extLst>
              <a:ext uri="{FF2B5EF4-FFF2-40B4-BE49-F238E27FC236}">
                <a16:creationId xmlns:a16="http://schemas.microsoft.com/office/drawing/2014/main" id="{3D685E11-8CE0-ADFB-EA67-C1002EE0FD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30761" y="2546809"/>
            <a:ext cx="422676" cy="422676"/>
          </a:xfrm>
          <a:prstGeom prst="rect">
            <a:avLst/>
          </a:prstGeom>
        </p:spPr>
      </p:pic>
      <p:pic>
        <p:nvPicPr>
          <p:cNvPr id="59" name="Graphic 58" descr="Stopwatch with solid fill">
            <a:extLst>
              <a:ext uri="{FF2B5EF4-FFF2-40B4-BE49-F238E27FC236}">
                <a16:creationId xmlns:a16="http://schemas.microsoft.com/office/drawing/2014/main" id="{7B433025-8D85-9D74-8E69-D1E77206DC4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77195" y="2528195"/>
            <a:ext cx="457200" cy="457200"/>
          </a:xfrm>
          <a:prstGeom prst="rect">
            <a:avLst/>
          </a:prstGeom>
        </p:spPr>
      </p:pic>
      <p:sp>
        <p:nvSpPr>
          <p:cNvPr id="62" name="Oval 61">
            <a:extLst>
              <a:ext uri="{FF2B5EF4-FFF2-40B4-BE49-F238E27FC236}">
                <a16:creationId xmlns:a16="http://schemas.microsoft.com/office/drawing/2014/main" id="{DE25D3AC-FCC9-1FF1-4215-EB282C2CFC21}"/>
              </a:ext>
            </a:extLst>
          </p:cNvPr>
          <p:cNvSpPr/>
          <p:nvPr/>
        </p:nvSpPr>
        <p:spPr>
          <a:xfrm>
            <a:off x="3537604" y="4590157"/>
            <a:ext cx="502920" cy="5285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7365CF8-CAF1-0156-D580-E058D65A8BEC}"/>
              </a:ext>
            </a:extLst>
          </p:cNvPr>
          <p:cNvSpPr txBox="1"/>
          <p:nvPr/>
        </p:nvSpPr>
        <p:spPr>
          <a:xfrm>
            <a:off x="4087470" y="4585812"/>
            <a:ext cx="16538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d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in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eps</a:t>
            </a: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68D44285-F3BB-5A7D-E2F4-1E97D7F00F57}"/>
              </a:ext>
            </a:extLst>
          </p:cNvPr>
          <p:cNvSpPr/>
          <p:nvPr/>
        </p:nvSpPr>
        <p:spPr>
          <a:xfrm>
            <a:off x="6054335" y="4590157"/>
            <a:ext cx="502920" cy="5285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4CF67678-C5FC-5E55-519F-D11BA91AD671}"/>
              </a:ext>
            </a:extLst>
          </p:cNvPr>
          <p:cNvSpPr txBox="1"/>
          <p:nvPr/>
        </p:nvSpPr>
        <p:spPr>
          <a:xfrm>
            <a:off x="6604202" y="4585812"/>
            <a:ext cx="20734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ed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hodology </a:t>
            </a:r>
          </a:p>
          <a:p>
            <a:pPr algn="ctr"/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days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5A593B2E-12B9-A062-F6A9-FB95B55D28D1}"/>
              </a:ext>
            </a:extLst>
          </p:cNvPr>
          <p:cNvSpPr/>
          <p:nvPr/>
        </p:nvSpPr>
        <p:spPr>
          <a:xfrm>
            <a:off x="8990639" y="4590157"/>
            <a:ext cx="502920" cy="52857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596C6F7D-1149-FEC0-A5F7-78B89C3864F1}"/>
              </a:ext>
            </a:extLst>
          </p:cNvPr>
          <p:cNvSpPr txBox="1"/>
          <p:nvPr/>
        </p:nvSpPr>
        <p:spPr>
          <a:xfrm>
            <a:off x="9352922" y="4585811"/>
            <a:ext cx="16000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from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where</a:t>
            </a:r>
          </a:p>
        </p:txBody>
      </p:sp>
      <p:pic>
        <p:nvPicPr>
          <p:cNvPr id="133" name="Graphic 132" descr="Earth Globe - Asia with solid fill">
            <a:extLst>
              <a:ext uri="{FF2B5EF4-FFF2-40B4-BE49-F238E27FC236}">
                <a16:creationId xmlns:a16="http://schemas.microsoft.com/office/drawing/2014/main" id="{92189177-CD32-2532-1E75-FEA0C0CF24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30761" y="4643106"/>
            <a:ext cx="422676" cy="422676"/>
          </a:xfrm>
          <a:prstGeom prst="rect">
            <a:avLst/>
          </a:prstGeom>
        </p:spPr>
      </p:pic>
      <p:pic>
        <p:nvPicPr>
          <p:cNvPr id="134" name="Graphic 133" descr="Stopwatch with solid fill">
            <a:extLst>
              <a:ext uri="{FF2B5EF4-FFF2-40B4-BE49-F238E27FC236}">
                <a16:creationId xmlns:a16="http://schemas.microsoft.com/office/drawing/2014/main" id="{F6E8186F-B4B4-BB44-A381-B168782F11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84530" y="4622477"/>
            <a:ext cx="457200" cy="457200"/>
          </a:xfrm>
          <a:prstGeom prst="rect">
            <a:avLst/>
          </a:prstGeom>
        </p:spPr>
      </p:pic>
      <p:pic>
        <p:nvPicPr>
          <p:cNvPr id="63" name="Graphic 62" descr="Workflow outline">
            <a:extLst>
              <a:ext uri="{FF2B5EF4-FFF2-40B4-BE49-F238E27FC236}">
                <a16:creationId xmlns:a16="http://schemas.microsoft.com/office/drawing/2014/main" id="{D2062A3D-1FBF-A673-A297-77FA55547B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95813" y="4652177"/>
            <a:ext cx="409028" cy="40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933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Methodology for verifying the worker’s suitability for the targeted profession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. </a:t>
            </a:r>
            <a:r>
              <a:rPr lang="fr-FR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fications 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3FC09764-819A-CA5C-C604-C439BDAD74BC}"/>
              </a:ext>
            </a:extLst>
          </p:cNvPr>
          <p:cNvSpPr/>
          <p:nvPr/>
        </p:nvSpPr>
        <p:spPr>
          <a:xfrm flipH="1">
            <a:off x="4487237" y="2053215"/>
            <a:ext cx="3248696" cy="3674082"/>
          </a:xfrm>
          <a:prstGeom prst="round2SameRect">
            <a:avLst>
              <a:gd name="adj1" fmla="val 705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CCFB296-9D2B-69E4-7863-104C41E1D35E}"/>
              </a:ext>
            </a:extLst>
          </p:cNvPr>
          <p:cNvSpPr/>
          <p:nvPr/>
        </p:nvSpPr>
        <p:spPr>
          <a:xfrm flipH="1">
            <a:off x="4562835" y="5707557"/>
            <a:ext cx="3002241" cy="228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94A2C08F-6342-94BC-B5D3-2B22A7F6535C}"/>
              </a:ext>
            </a:extLst>
          </p:cNvPr>
          <p:cNvSpPr/>
          <p:nvPr/>
        </p:nvSpPr>
        <p:spPr>
          <a:xfrm flipH="1">
            <a:off x="8167716" y="2044250"/>
            <a:ext cx="3214046" cy="3674082"/>
          </a:xfrm>
          <a:prstGeom prst="round2SameRect">
            <a:avLst>
              <a:gd name="adj1" fmla="val 705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Low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C9F910C-6F21-B1EA-A807-A80CF20ECE18}"/>
              </a:ext>
            </a:extLst>
          </p:cNvPr>
          <p:cNvSpPr/>
          <p:nvPr/>
        </p:nvSpPr>
        <p:spPr>
          <a:xfrm flipH="1">
            <a:off x="8300817" y="5707556"/>
            <a:ext cx="2887016" cy="228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700F870C-0DD7-8BA3-910A-F8E8270C5FCB}"/>
              </a:ext>
            </a:extLst>
          </p:cNvPr>
          <p:cNvSpPr/>
          <p:nvPr/>
        </p:nvSpPr>
        <p:spPr>
          <a:xfrm flipH="1">
            <a:off x="823500" y="2061396"/>
            <a:ext cx="3200412" cy="3665900"/>
          </a:xfrm>
          <a:prstGeom prst="round2SameRect">
            <a:avLst>
              <a:gd name="adj1" fmla="val 705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39BCE6E-8424-9708-DC0B-59E7EA9A1890}"/>
              </a:ext>
            </a:extLst>
          </p:cNvPr>
          <p:cNvSpPr/>
          <p:nvPr/>
        </p:nvSpPr>
        <p:spPr>
          <a:xfrm flipH="1">
            <a:off x="890729" y="5707556"/>
            <a:ext cx="3002241" cy="2286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0B5292AB-74D8-5CB9-B811-2EC090F8D94A}"/>
              </a:ext>
            </a:extLst>
          </p:cNvPr>
          <p:cNvSpPr/>
          <p:nvPr/>
        </p:nvSpPr>
        <p:spPr>
          <a:xfrm rot="5400000">
            <a:off x="9220331" y="502054"/>
            <a:ext cx="1121247" cy="3233029"/>
          </a:xfrm>
          <a:prstGeom prst="homePlate">
            <a:avLst>
              <a:gd name="adj" fmla="val 21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2930162-7792-0298-88A3-5DA7299C37D2}"/>
              </a:ext>
            </a:extLst>
          </p:cNvPr>
          <p:cNvSpPr txBox="1"/>
          <p:nvPr/>
        </p:nvSpPr>
        <p:spPr>
          <a:xfrm>
            <a:off x="8300817" y="1705565"/>
            <a:ext cx="2982879" cy="926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0E3142"/>
                </a:solidFill>
                <a:effectLst/>
                <a:uLnTx/>
                <a:uFillTx/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Experience as an alternativ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(Launch soon)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BA4A54D2-DB90-B197-4E62-F29826556E3A}"/>
              </a:ext>
            </a:extLst>
          </p:cNvPr>
          <p:cNvSpPr/>
          <p:nvPr/>
        </p:nvSpPr>
        <p:spPr>
          <a:xfrm rot="5400000">
            <a:off x="5545189" y="499517"/>
            <a:ext cx="1121247" cy="3265485"/>
          </a:xfrm>
          <a:prstGeom prst="homePlate">
            <a:avLst>
              <a:gd name="adj" fmla="val 21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789850-1CB6-B66D-6BEF-CA3FD245F00B}"/>
              </a:ext>
            </a:extLst>
          </p:cNvPr>
          <p:cNvSpPr txBox="1"/>
          <p:nvPr/>
        </p:nvSpPr>
        <p:spPr>
          <a:xfrm>
            <a:off x="4595688" y="1705565"/>
            <a:ext cx="3024255" cy="72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ducational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vel and Field </a:t>
            </a:r>
          </a:p>
        </p:txBody>
      </p:sp>
      <p:sp>
        <p:nvSpPr>
          <p:cNvPr id="55" name="Arrow: Pentagon 54">
            <a:extLst>
              <a:ext uri="{FF2B5EF4-FFF2-40B4-BE49-F238E27FC236}">
                <a16:creationId xmlns:a16="http://schemas.microsoft.com/office/drawing/2014/main" id="{5B84BF26-72B3-CF14-6E90-8488BA177EC5}"/>
              </a:ext>
            </a:extLst>
          </p:cNvPr>
          <p:cNvSpPr/>
          <p:nvPr/>
        </p:nvSpPr>
        <p:spPr>
          <a:xfrm rot="5400000">
            <a:off x="1885546" y="533992"/>
            <a:ext cx="1121247" cy="3265485"/>
          </a:xfrm>
          <a:prstGeom prst="homePlate">
            <a:avLst>
              <a:gd name="adj" fmla="val 21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F1269C3-C048-10C5-ADFE-542CBAD4E3FA}"/>
              </a:ext>
            </a:extLst>
          </p:cNvPr>
          <p:cNvSpPr txBox="1"/>
          <p:nvPr/>
        </p:nvSpPr>
        <p:spPr>
          <a:xfrm>
            <a:off x="1161316" y="1705565"/>
            <a:ext cx="2761037" cy="726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alyze profession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EDDADEE-59FC-141F-4370-47BD829274C6}"/>
              </a:ext>
            </a:extLst>
          </p:cNvPr>
          <p:cNvSpPr txBox="1"/>
          <p:nvPr/>
        </p:nvSpPr>
        <p:spPr>
          <a:xfrm>
            <a:off x="8330201" y="2740518"/>
            <a:ext cx="31075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ying the practical experiences and comparing it with profession requirements in case the applicant have not met the requirements (Educational level and field) of the professions</a:t>
            </a:r>
            <a:endParaRPr kumimoji="0" lang="ar-SA" sz="14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D58DE2B-6371-DBBD-B71E-73475A2B7360}"/>
              </a:ext>
            </a:extLst>
          </p:cNvPr>
          <p:cNvSpPr txBox="1"/>
          <p:nvPr/>
        </p:nvSpPr>
        <p:spPr>
          <a:xfrm>
            <a:off x="4617327" y="2740518"/>
            <a:ext cx="297284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igning the applicant's academic degrees and its field with the profession requirements</a:t>
            </a:r>
            <a:endParaRPr kumimoji="0" lang="ar-SA" sz="14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0D2FBED-423E-B16A-38B7-C55F7D78183A}"/>
              </a:ext>
            </a:extLst>
          </p:cNvPr>
          <p:cNvSpPr txBox="1"/>
          <p:nvPr/>
        </p:nvSpPr>
        <p:spPr>
          <a:xfrm>
            <a:off x="905424" y="2722762"/>
            <a:ext cx="29728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ferring to SSCO, the technical requirements for each profession are analyzed, encompassing main tasks, educational level and field, skills, and other relevant factors</a:t>
            </a:r>
          </a:p>
        </p:txBody>
      </p:sp>
      <p:pic>
        <p:nvPicPr>
          <p:cNvPr id="66" name="Graphic 65" descr="Programmer male outline">
            <a:extLst>
              <a:ext uri="{FF2B5EF4-FFF2-40B4-BE49-F238E27FC236}">
                <a16:creationId xmlns:a16="http://schemas.microsoft.com/office/drawing/2014/main" id="{83FFDDC3-9867-92D3-7BA0-33A5D8110E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51858" y="4064519"/>
            <a:ext cx="457200" cy="457200"/>
          </a:xfrm>
          <a:prstGeom prst="rect">
            <a:avLst/>
          </a:prstGeom>
        </p:spPr>
      </p:pic>
      <p:pic>
        <p:nvPicPr>
          <p:cNvPr id="67" name="Graphic 66" descr="Construction worker male outline">
            <a:extLst>
              <a:ext uri="{FF2B5EF4-FFF2-40B4-BE49-F238E27FC236}">
                <a16:creationId xmlns:a16="http://schemas.microsoft.com/office/drawing/2014/main" id="{ED98648F-33A1-579D-BF5B-A16B5FFB14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77152" y="4101589"/>
            <a:ext cx="457200" cy="45720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F3849410-1DD9-CECD-5D8D-61B685D476C9}"/>
              </a:ext>
            </a:extLst>
          </p:cNvPr>
          <p:cNvSpPr txBox="1"/>
          <p:nvPr/>
        </p:nvSpPr>
        <p:spPr>
          <a:xfrm>
            <a:off x="4648115" y="4552866"/>
            <a:ext cx="1517016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counta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vel: 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chelor degre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eld : 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counting &amp; taxation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B32EFB8-467F-64DF-8EB1-87FC4F4ADD87}"/>
              </a:ext>
            </a:extLst>
          </p:cNvPr>
          <p:cNvSpPr txBox="1"/>
          <p:nvPr/>
        </p:nvSpPr>
        <p:spPr>
          <a:xfrm>
            <a:off x="6129119" y="4539966"/>
            <a:ext cx="1620981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 Operations Technici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vel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ploma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gre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eld 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uter / Software &amp; applications development</a:t>
            </a: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E1B57631-5636-10EB-F098-8E30E1E9C827}"/>
              </a:ext>
            </a:extLst>
          </p:cNvPr>
          <p:cNvSpPr/>
          <p:nvPr/>
        </p:nvSpPr>
        <p:spPr>
          <a:xfrm>
            <a:off x="8818194" y="4304604"/>
            <a:ext cx="2072310" cy="10681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perience related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in task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f the profession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5C33FC0-A53E-CEA7-5359-F6CD6CA7C4FE}"/>
              </a:ext>
            </a:extLst>
          </p:cNvPr>
          <p:cNvSpPr/>
          <p:nvPr/>
        </p:nvSpPr>
        <p:spPr>
          <a:xfrm>
            <a:off x="672210" y="1804559"/>
            <a:ext cx="472282" cy="4222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12907327-F79E-CDAC-07B6-FF582A15992B}"/>
              </a:ext>
            </a:extLst>
          </p:cNvPr>
          <p:cNvSpPr/>
          <p:nvPr/>
        </p:nvSpPr>
        <p:spPr>
          <a:xfrm>
            <a:off x="4296409" y="1801195"/>
            <a:ext cx="472282" cy="4222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FD59DE1C-74C8-9254-B847-FBEC8AA28250}"/>
              </a:ext>
            </a:extLst>
          </p:cNvPr>
          <p:cNvSpPr/>
          <p:nvPr/>
        </p:nvSpPr>
        <p:spPr>
          <a:xfrm>
            <a:off x="8004965" y="1833118"/>
            <a:ext cx="472282" cy="4222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2D92D7-387F-333B-4B64-9D337F79EADE}"/>
              </a:ext>
            </a:extLst>
          </p:cNvPr>
          <p:cNvSpPr txBox="1"/>
          <p:nvPr/>
        </p:nvSpPr>
        <p:spPr>
          <a:xfrm>
            <a:off x="571628" y="6158949"/>
            <a:ext cx="61055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34258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SCO: Saudi Standard Classification of Occupations</a:t>
            </a:r>
            <a:endParaRPr lang="ar-SA" sz="1100" dirty="0">
              <a:solidFill>
                <a:srgbClr val="134258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B7BB33-EF4F-49C2-79F3-E26E7CE00BAC}"/>
              </a:ext>
            </a:extLst>
          </p:cNvPr>
          <p:cNvSpPr txBox="1"/>
          <p:nvPr/>
        </p:nvSpPr>
        <p:spPr>
          <a:xfrm>
            <a:off x="4590795" y="3760056"/>
            <a:ext cx="8855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ample: </a:t>
            </a:r>
            <a:endParaRPr lang="ar-SA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35588E-8E54-B1A3-2FA7-C8975E25BD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1316" y="4108147"/>
            <a:ext cx="2477684" cy="1495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692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Qualifications Verification Program Platform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. </a:t>
            </a:r>
            <a:r>
              <a:rPr lang="fr-FR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fications 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369DE4B-43B5-5AD8-DC15-8E0F688121DB}"/>
              </a:ext>
            </a:extLst>
          </p:cNvPr>
          <p:cNvGrpSpPr/>
          <p:nvPr/>
        </p:nvGrpSpPr>
        <p:grpSpPr>
          <a:xfrm>
            <a:off x="2812429" y="1803252"/>
            <a:ext cx="2088755" cy="3417972"/>
            <a:chOff x="3095893" y="1803252"/>
            <a:chExt cx="2573386" cy="3417972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6877D43-A00B-7C61-F692-E75CF6F59580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B3473E4E-30A1-D8CF-3711-6399756A02A6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ervice allows the candidate to: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reating a personal profile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electing targeted </a:t>
                </a:r>
                <a:r>
                  <a:rPr lang="en-US" sz="1400" dirty="0">
                    <a:solidFill>
                      <a:srgbClr val="134258"/>
                    </a:solidFill>
                    <a:highlight>
                      <a:srgbClr val="FFFFFF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profession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34258"/>
                  </a:solidFill>
                  <a:effectLst/>
                  <a:highlight>
                    <a:srgbClr val="FFFFFF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Uploading the documents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6A0C8042-B76D-FE13-0412-FAAC341BA8E3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Registration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2EDDC4A-E15A-47B6-3073-AF4209890566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46446DF-D130-69B9-9E35-6F4A3D67361F}"/>
              </a:ext>
            </a:extLst>
          </p:cNvPr>
          <p:cNvGrpSpPr/>
          <p:nvPr/>
        </p:nvGrpSpPr>
        <p:grpSpPr>
          <a:xfrm>
            <a:off x="4975225" y="1803252"/>
            <a:ext cx="2088755" cy="3417972"/>
            <a:chOff x="3095893" y="1803252"/>
            <a:chExt cx="2573386" cy="341797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FBE31077-A894-6384-5C05-D5CA80E68F68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49" name="Rectangle: Rounded Corners 48">
                <a:extLst>
                  <a:ext uri="{FF2B5EF4-FFF2-40B4-BE49-F238E27FC236}">
                    <a16:creationId xmlns:a16="http://schemas.microsoft.com/office/drawing/2014/main" id="{25646E4D-7DC5-D16D-4939-B0B0621A2CE9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Verification process takes up to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15 days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. During this process,  the candidate can track their verification request.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2F6E2D56-F0DD-79F2-0D08-399AE83843A2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Verification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12F5BA6D-BC7C-7518-B399-33A568DD9ACC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6C1B0BF-758E-0268-5B97-03E95F91FC42}"/>
              </a:ext>
            </a:extLst>
          </p:cNvPr>
          <p:cNvGrpSpPr/>
          <p:nvPr/>
        </p:nvGrpSpPr>
        <p:grpSpPr>
          <a:xfrm>
            <a:off x="7152864" y="1803252"/>
            <a:ext cx="2088755" cy="3417972"/>
            <a:chOff x="3095893" y="1803252"/>
            <a:chExt cx="2573386" cy="3417972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FDEF1C3-4E4A-3701-01F3-0B32ECE5B35C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8F9396D3-509E-22D4-5FF2-34F9E657F84E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he candidate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receives the certificate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fter the verification process </a:t>
                </a:r>
                <a:endParaRPr kumimoji="0" lang="ar-S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34258"/>
                  </a:solidFill>
                  <a:effectLst/>
                  <a:highlight>
                    <a:srgbClr val="FFFFFF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5171A74-CF9E-B9D4-A149-1613320434A4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ertification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A35F27F-EFD6-C309-7D51-39CA5B2D1236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718D65D-A2CB-4ECF-A5A5-AEBD6F7B7365}"/>
              </a:ext>
            </a:extLst>
          </p:cNvPr>
          <p:cNvGrpSpPr/>
          <p:nvPr/>
        </p:nvGrpSpPr>
        <p:grpSpPr>
          <a:xfrm>
            <a:off x="9315660" y="1803252"/>
            <a:ext cx="2088755" cy="3417972"/>
            <a:chOff x="3095893" y="1803252"/>
            <a:chExt cx="2573386" cy="3417972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B1CD88B-9224-5031-63F6-DF5F515C4AE9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AD6CAA5C-A81D-90A7-C01D-EAC93B79248C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ovides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24/7 customer care service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, with various channels: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ical Support Ticket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mail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hatbot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ocial Media Platforms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962D5C4C-F4EE-CDA8-76F9-762BDB8E5FC3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19063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ustomer care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3111DD8-C22E-24B8-C6EC-34217582F427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1" name="Picture 3">
            <a:extLst>
              <a:ext uri="{FF2B5EF4-FFF2-40B4-BE49-F238E27FC236}">
                <a16:creationId xmlns:a16="http://schemas.microsoft.com/office/drawing/2014/main" id="{7CFCF52E-6F9C-B4B5-115E-80B1AB80F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833" y="4849404"/>
            <a:ext cx="277785" cy="258266"/>
          </a:xfrm>
          <a:prstGeom prst="rect">
            <a:avLst/>
          </a:prstGeom>
          <a:noFill/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CFD0368C-C9B5-F3BB-8AA8-C5DF3FEE20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3070" y="4809441"/>
            <a:ext cx="287743" cy="316517"/>
          </a:xfrm>
          <a:prstGeom prst="rect">
            <a:avLst/>
          </a:prstGeom>
          <a:noFill/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B0C6D17A-C415-8296-0B29-DE83671D93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6187" y="4851335"/>
            <a:ext cx="270984" cy="298083"/>
          </a:xfrm>
          <a:prstGeom prst="rect">
            <a:avLst/>
          </a:prstGeom>
          <a:noFill/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70AA4817-21B2-2649-B6A4-B819BBE306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63122" y="4800215"/>
            <a:ext cx="325770" cy="358348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B58ECAAE-ACE4-99A9-53F1-5705D3189E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153" y="3091297"/>
            <a:ext cx="2094677" cy="120670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1E4FFF6-6203-2B8B-3D8A-D3C2A65015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70836" y="3407419"/>
            <a:ext cx="1667108" cy="1238423"/>
          </a:xfrm>
          <a:prstGeom prst="rect">
            <a:avLst/>
          </a:prstGeom>
        </p:spPr>
      </p:pic>
      <p:pic>
        <p:nvPicPr>
          <p:cNvPr id="2" name="Picture 1">
            <a:hlinkClick r:id="rId9"/>
            <a:extLst>
              <a:ext uri="{FF2B5EF4-FFF2-40B4-BE49-F238E27FC236}">
                <a16:creationId xmlns:a16="http://schemas.microsoft.com/office/drawing/2014/main" id="{935005C4-F61F-9296-551A-C7FF18DDE1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28767" y="4361579"/>
            <a:ext cx="332387" cy="38651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20D58DF-3629-B73F-ACF9-38308FD1343E}"/>
              </a:ext>
            </a:extLst>
          </p:cNvPr>
          <p:cNvSpPr/>
          <p:nvPr/>
        </p:nvSpPr>
        <p:spPr>
          <a:xfrm>
            <a:off x="1958109" y="4398700"/>
            <a:ext cx="477151" cy="166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Link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551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Data 7">
            <a:extLst>
              <a:ext uri="{FF2B5EF4-FFF2-40B4-BE49-F238E27FC236}">
                <a16:creationId xmlns:a16="http://schemas.microsoft.com/office/drawing/2014/main" id="{314D2263-763A-D9D3-3A9A-181B2F058285}"/>
              </a:ext>
            </a:extLst>
          </p:cNvPr>
          <p:cNvSpPr/>
          <p:nvPr/>
        </p:nvSpPr>
        <p:spPr>
          <a:xfrm>
            <a:off x="854034" y="3897390"/>
            <a:ext cx="666379" cy="635506"/>
          </a:xfrm>
          <a:prstGeom prst="flowChartInputOutpu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E5BC577-784B-BB35-3437-91D1892EB7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9790" y="3897390"/>
            <a:ext cx="8696802" cy="635506"/>
          </a:xfrm>
        </p:spPr>
        <p:txBody>
          <a:bodyPr/>
          <a:lstStyle/>
          <a:p>
            <a:pPr algn="l" defTabSz="1828800">
              <a:lnSpc>
                <a:spcPct val="100000"/>
              </a:lnSpc>
              <a:spcBef>
                <a:spcPts val="0"/>
              </a:spcBef>
              <a:defRPr/>
            </a:pPr>
            <a:r>
              <a:rPr lang="fr-FR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ills </a:t>
            </a:r>
            <a:r>
              <a:rPr lang="en-US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rification Program </a:t>
            </a:r>
            <a:endParaRPr lang="ar-SA" sz="2800" b="1" kern="1200" noProof="0" dirty="0">
              <a:solidFill>
                <a:srgbClr val="15828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182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The skills verification program is designed for medium and low skilled workers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3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8176340-65A9-09AB-662E-3D2132610739}"/>
              </a:ext>
            </a:extLst>
          </p:cNvPr>
          <p:cNvGrpSpPr/>
          <p:nvPr/>
        </p:nvGrpSpPr>
        <p:grpSpPr>
          <a:xfrm>
            <a:off x="747735" y="1949555"/>
            <a:ext cx="2878948" cy="3563018"/>
            <a:chOff x="11709381" y="3830473"/>
            <a:chExt cx="5757895" cy="7126035"/>
          </a:xfrm>
        </p:grpSpPr>
        <p:sp>
          <p:nvSpPr>
            <p:cNvPr id="67" name="Rectangle: Top Corners Rounded 66">
              <a:extLst>
                <a:ext uri="{FF2B5EF4-FFF2-40B4-BE49-F238E27FC236}">
                  <a16:creationId xmlns:a16="http://schemas.microsoft.com/office/drawing/2014/main" id="{08510389-583F-3B7F-CB6D-BB59016BDA51}"/>
                </a:ext>
              </a:extLst>
            </p:cNvPr>
            <p:cNvSpPr/>
            <p:nvPr/>
          </p:nvSpPr>
          <p:spPr>
            <a:xfrm rot="16200000" flipH="1">
              <a:off x="11179241" y="4603142"/>
              <a:ext cx="1564897" cy="493802"/>
            </a:xfrm>
            <a:prstGeom prst="round2SameRect">
              <a:avLst>
                <a:gd name="adj1" fmla="val 15343"/>
                <a:gd name="adj2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: Top Corners Rounded 67">
              <a:extLst>
                <a:ext uri="{FF2B5EF4-FFF2-40B4-BE49-F238E27FC236}">
                  <a16:creationId xmlns:a16="http://schemas.microsoft.com/office/drawing/2014/main" id="{5BAF55C7-51E6-A529-7600-E2EEC0A4A243}"/>
                </a:ext>
              </a:extLst>
            </p:cNvPr>
            <p:cNvSpPr/>
            <p:nvPr/>
          </p:nvSpPr>
          <p:spPr>
            <a:xfrm flipH="1">
              <a:off x="12002255" y="4352813"/>
              <a:ext cx="5465021" cy="6566417"/>
            </a:xfrm>
            <a:prstGeom prst="round2SameRect">
              <a:avLst>
                <a:gd name="adj1" fmla="val 7051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Arrow: Pentagon 68">
              <a:extLst>
                <a:ext uri="{FF2B5EF4-FFF2-40B4-BE49-F238E27FC236}">
                  <a16:creationId xmlns:a16="http://schemas.microsoft.com/office/drawing/2014/main" id="{475EAECC-33F0-CB7A-452A-8F4390A3BEE7}"/>
                </a:ext>
              </a:extLst>
            </p:cNvPr>
            <p:cNvSpPr/>
            <p:nvPr/>
          </p:nvSpPr>
          <p:spPr>
            <a:xfrm rot="5400000">
              <a:off x="13653487" y="2153835"/>
              <a:ext cx="2137152" cy="5490427"/>
            </a:xfrm>
            <a:prstGeom prst="homePlate">
              <a:avLst>
                <a:gd name="adj" fmla="val 21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: Top Corners Rounded 69">
              <a:extLst>
                <a:ext uri="{FF2B5EF4-FFF2-40B4-BE49-F238E27FC236}">
                  <a16:creationId xmlns:a16="http://schemas.microsoft.com/office/drawing/2014/main" id="{E331EE44-40D1-3734-15E2-11F34949AFDE}"/>
                </a:ext>
              </a:extLst>
            </p:cNvPr>
            <p:cNvSpPr/>
            <p:nvPr/>
          </p:nvSpPr>
          <p:spPr>
            <a:xfrm rot="5400000" flipH="1">
              <a:off x="11869764" y="3907205"/>
              <a:ext cx="1316201" cy="163696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EA24D38-0599-AA85-C648-76D296646164}"/>
                </a:ext>
              </a:extLst>
            </p:cNvPr>
            <p:cNvSpPr/>
            <p:nvPr/>
          </p:nvSpPr>
          <p:spPr>
            <a:xfrm flipH="1" flipV="1">
              <a:off x="12525789" y="10865070"/>
              <a:ext cx="4197275" cy="9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0CE5F97-1919-5DBA-438A-2005D787801C}"/>
                </a:ext>
              </a:extLst>
            </p:cNvPr>
            <p:cNvSpPr txBox="1"/>
            <p:nvPr/>
          </p:nvSpPr>
          <p:spPr>
            <a:xfrm>
              <a:off x="12073207" y="6948291"/>
              <a:ext cx="5148937" cy="213714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marL="0" marR="0" lvl="0" indent="0" algn="ctr" defTabSz="914400" rtl="1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sure that the expatriate professional worker have the </a:t>
              </a:r>
              <a:r>
                <a:rPr lang="en-US" sz="1400" b="1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cessary skills </a:t>
              </a:r>
              <a:r>
                <a:rPr lang="en-US" sz="14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performing a </a:t>
              </a:r>
              <a:r>
                <a:rPr lang="en-US" sz="1400" b="1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actical and theoretical tests </a:t>
              </a:r>
              <a:r>
                <a:rPr lang="en-US" sz="14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their field of specialization</a:t>
              </a:r>
            </a:p>
            <a:p>
              <a:pPr marL="0" marR="0" lvl="0" indent="0" algn="ctr" defTabSz="914400" rtl="1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5F3D8E08-FEC2-9A37-E20F-9261EC9B61F8}"/>
                </a:ext>
              </a:extLst>
            </p:cNvPr>
            <p:cNvSpPr txBox="1"/>
            <p:nvPr/>
          </p:nvSpPr>
          <p:spPr>
            <a:xfrm>
              <a:off x="13085789" y="9689168"/>
              <a:ext cx="4136355" cy="67031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1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3425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xample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3425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en-US" sz="1200" b="1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ectricia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C6918398-8D2A-316B-8AB8-0CAC1159563D}"/>
              </a:ext>
            </a:extLst>
          </p:cNvPr>
          <p:cNvSpPr txBox="1"/>
          <p:nvPr/>
        </p:nvSpPr>
        <p:spPr>
          <a:xfrm>
            <a:off x="1480639" y="2046704"/>
            <a:ext cx="187666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 </a:t>
            </a:r>
          </a:p>
          <a:p>
            <a:pPr algn="ctr"/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0687B1C-503A-BB1F-020B-9D4F287B062C}"/>
              </a:ext>
            </a:extLst>
          </p:cNvPr>
          <p:cNvSpPr txBox="1"/>
          <p:nvPr/>
        </p:nvSpPr>
        <p:spPr>
          <a:xfrm>
            <a:off x="5610507" y="2097023"/>
            <a:ext cx="815929" cy="169277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oup Code</a:t>
            </a:r>
            <a:endParaRPr kumimoji="0" lang="ar-SA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482023D-7942-4D03-629A-738EBDE5A1CC}"/>
              </a:ext>
            </a:extLst>
          </p:cNvPr>
          <p:cNvGrpSpPr/>
          <p:nvPr/>
        </p:nvGrpSpPr>
        <p:grpSpPr>
          <a:xfrm>
            <a:off x="6005008" y="2336876"/>
            <a:ext cx="3475392" cy="2725099"/>
            <a:chOff x="4058663" y="1873796"/>
            <a:chExt cx="2757957" cy="2252147"/>
          </a:xfrm>
        </p:grpSpPr>
        <p:sp>
          <p:nvSpPr>
            <p:cNvPr id="19" name="Google Shape;340;p25">
              <a:extLst>
                <a:ext uri="{FF2B5EF4-FFF2-40B4-BE49-F238E27FC236}">
                  <a16:creationId xmlns:a16="http://schemas.microsoft.com/office/drawing/2014/main" id="{49A13D84-EA4F-27D0-17BD-BFF8EA79AD05}"/>
                </a:ext>
              </a:extLst>
            </p:cNvPr>
            <p:cNvSpPr txBox="1"/>
            <p:nvPr/>
          </p:nvSpPr>
          <p:spPr>
            <a:xfrm flipH="1">
              <a:off x="4058664" y="187379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D9D9D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Manager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0" name="Google Shape;341;p25">
              <a:extLst>
                <a:ext uri="{FF2B5EF4-FFF2-40B4-BE49-F238E27FC236}">
                  <a16:creationId xmlns:a16="http://schemas.microsoft.com/office/drawing/2014/main" id="{75C6EC9C-C239-7640-14C6-2480913A199A}"/>
                </a:ext>
              </a:extLst>
            </p:cNvPr>
            <p:cNvSpPr txBox="1"/>
            <p:nvPr/>
          </p:nvSpPr>
          <p:spPr>
            <a:xfrm flipH="1">
              <a:off x="4058664" y="212778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D9D9D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Specialist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1" name="Google Shape;342;p25">
              <a:extLst>
                <a:ext uri="{FF2B5EF4-FFF2-40B4-BE49-F238E27FC236}">
                  <a16:creationId xmlns:a16="http://schemas.microsoft.com/office/drawing/2014/main" id="{2E7A234B-CC81-9799-F5C3-1DB690771C5A}"/>
                </a:ext>
              </a:extLst>
            </p:cNvPr>
            <p:cNvSpPr txBox="1"/>
            <p:nvPr/>
          </p:nvSpPr>
          <p:spPr>
            <a:xfrm flipH="1">
              <a:off x="4058664" y="238177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D9D9D9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Technicians and assistant specialist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2" name="Google Shape;343;p25">
              <a:extLst>
                <a:ext uri="{FF2B5EF4-FFF2-40B4-BE49-F238E27FC236}">
                  <a16:creationId xmlns:a16="http://schemas.microsoft.com/office/drawing/2014/main" id="{CF05C761-25FD-BD59-33A6-FBA4E9E3AB43}"/>
                </a:ext>
              </a:extLst>
            </p:cNvPr>
            <p:cNvSpPr txBox="1"/>
            <p:nvPr/>
          </p:nvSpPr>
          <p:spPr>
            <a:xfrm flipH="1">
              <a:off x="4058663" y="288975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Service and sales worker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3" name="Google Shape;344;p25">
              <a:extLst>
                <a:ext uri="{FF2B5EF4-FFF2-40B4-BE49-F238E27FC236}">
                  <a16:creationId xmlns:a16="http://schemas.microsoft.com/office/drawing/2014/main" id="{C2DC0935-64F6-DC63-4E84-77507FDADDAA}"/>
                </a:ext>
              </a:extLst>
            </p:cNvPr>
            <p:cNvSpPr txBox="1"/>
            <p:nvPr/>
          </p:nvSpPr>
          <p:spPr>
            <a:xfrm flipH="1">
              <a:off x="4058663" y="314374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Skilled workers in agriculture, forestry &amp; fish farm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4" name="Google Shape;345;p25">
              <a:extLst>
                <a:ext uri="{FF2B5EF4-FFF2-40B4-BE49-F238E27FC236}">
                  <a16:creationId xmlns:a16="http://schemas.microsoft.com/office/drawing/2014/main" id="{0068BF27-4B2D-17B7-3EB0-9B06CF0CA83B}"/>
                </a:ext>
              </a:extLst>
            </p:cNvPr>
            <p:cNvSpPr txBox="1"/>
            <p:nvPr/>
          </p:nvSpPr>
          <p:spPr>
            <a:xfrm flipH="1">
              <a:off x="4058663" y="263576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Office Support Worker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5" name="Google Shape;346;p25">
              <a:extLst>
                <a:ext uri="{FF2B5EF4-FFF2-40B4-BE49-F238E27FC236}">
                  <a16:creationId xmlns:a16="http://schemas.microsoft.com/office/drawing/2014/main" id="{30389572-B330-0F61-64C4-E3E84847A6F5}"/>
                </a:ext>
              </a:extLst>
            </p:cNvPr>
            <p:cNvSpPr txBox="1"/>
            <p:nvPr/>
          </p:nvSpPr>
          <p:spPr>
            <a:xfrm flipH="1">
              <a:off x="4058663" y="339773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Craftsmen and those associated with them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6" name="Google Shape;347;p25">
              <a:extLst>
                <a:ext uri="{FF2B5EF4-FFF2-40B4-BE49-F238E27FC236}">
                  <a16:creationId xmlns:a16="http://schemas.microsoft.com/office/drawing/2014/main" id="{3B240A85-9AC7-B470-1E07-DBB458F80FDB}"/>
                </a:ext>
              </a:extLst>
            </p:cNvPr>
            <p:cNvSpPr txBox="1"/>
            <p:nvPr/>
          </p:nvSpPr>
          <p:spPr>
            <a:xfrm flipH="1">
              <a:off x="4058663" y="3651725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Plant and machinery operators &amp; assembly workers</a:t>
              </a:r>
              <a:endParaRPr kumimoji="0" lang="ar-SA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27" name="Google Shape;348;p25">
              <a:extLst>
                <a:ext uri="{FF2B5EF4-FFF2-40B4-BE49-F238E27FC236}">
                  <a16:creationId xmlns:a16="http://schemas.microsoft.com/office/drawing/2014/main" id="{8580889F-8E91-9962-FEDF-AA0DF6D69FC5}"/>
                </a:ext>
              </a:extLst>
            </p:cNvPr>
            <p:cNvSpPr txBox="1"/>
            <p:nvPr/>
          </p:nvSpPr>
          <p:spPr>
            <a:xfrm flipH="1">
              <a:off x="4058664" y="390571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333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 panose="020B0603020203020204" pitchFamily="34" charset="0"/>
                </a:rPr>
                <a:t>Primary occupations</a:t>
              </a:r>
              <a:endParaRPr kumimoji="0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</p:grpSp>
      <p:sp>
        <p:nvSpPr>
          <p:cNvPr id="28" name="Google Shape;349;p25">
            <a:extLst>
              <a:ext uri="{FF2B5EF4-FFF2-40B4-BE49-F238E27FC236}">
                <a16:creationId xmlns:a16="http://schemas.microsoft.com/office/drawing/2014/main" id="{69ADAD02-5447-4209-E01A-DEC26E54EAF8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2360001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1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29" name="Google Shape;350;p25">
            <a:extLst>
              <a:ext uri="{FF2B5EF4-FFF2-40B4-BE49-F238E27FC236}">
                <a16:creationId xmlns:a16="http://schemas.microsoft.com/office/drawing/2014/main" id="{709382B0-0971-4BD8-EAF3-44A84CF62C9E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2667329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2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0" name="Google Shape;351;p25">
            <a:extLst>
              <a:ext uri="{FF2B5EF4-FFF2-40B4-BE49-F238E27FC236}">
                <a16:creationId xmlns:a16="http://schemas.microsoft.com/office/drawing/2014/main" id="{53CDF917-94C7-64EB-CAF2-E041FD3CD15E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2974656"/>
            <a:ext cx="220226" cy="220226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3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1" name="Google Shape;352;p25">
            <a:extLst>
              <a:ext uri="{FF2B5EF4-FFF2-40B4-BE49-F238E27FC236}">
                <a16:creationId xmlns:a16="http://schemas.microsoft.com/office/drawing/2014/main" id="{75313950-B287-0294-0668-17A50C678642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3281984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4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2" name="Google Shape;353;p25">
            <a:extLst>
              <a:ext uri="{FF2B5EF4-FFF2-40B4-BE49-F238E27FC236}">
                <a16:creationId xmlns:a16="http://schemas.microsoft.com/office/drawing/2014/main" id="{5994FEC8-5382-F8DB-F55A-DE517416E6C1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3589312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5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Google Shape;354;p25">
            <a:extLst>
              <a:ext uri="{FF2B5EF4-FFF2-40B4-BE49-F238E27FC236}">
                <a16:creationId xmlns:a16="http://schemas.microsoft.com/office/drawing/2014/main" id="{2FE1563A-DFE9-9A6A-BC27-8130EBE65CCD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3896641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6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Google Shape;355;p25">
            <a:extLst>
              <a:ext uri="{FF2B5EF4-FFF2-40B4-BE49-F238E27FC236}">
                <a16:creationId xmlns:a16="http://schemas.microsoft.com/office/drawing/2014/main" id="{046C85E0-B2CF-954B-B548-17519C3C9323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4203970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7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Google Shape;356;p25">
            <a:extLst>
              <a:ext uri="{FF2B5EF4-FFF2-40B4-BE49-F238E27FC236}">
                <a16:creationId xmlns:a16="http://schemas.microsoft.com/office/drawing/2014/main" id="{FB91DCF6-CF88-29E6-5D95-110BEF6590FC}"/>
              </a:ext>
            </a:extLst>
          </p:cNvPr>
          <p:cNvSpPr>
            <a:spLocks noChangeAspect="1"/>
          </p:cNvSpPr>
          <p:nvPr/>
        </p:nvSpPr>
        <p:spPr>
          <a:xfrm flipH="1">
            <a:off x="6026203" y="4511297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8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Google Shape;357;p25">
            <a:extLst>
              <a:ext uri="{FF2B5EF4-FFF2-40B4-BE49-F238E27FC236}">
                <a16:creationId xmlns:a16="http://schemas.microsoft.com/office/drawing/2014/main" id="{BEB2C5D2-8400-6BD6-E79C-7DEEF79E00AB}"/>
              </a:ext>
            </a:extLst>
          </p:cNvPr>
          <p:cNvSpPr>
            <a:spLocks noChangeAspect="1"/>
          </p:cNvSpPr>
          <p:nvPr/>
        </p:nvSpPr>
        <p:spPr>
          <a:xfrm flipH="1">
            <a:off x="6026202" y="4818624"/>
            <a:ext cx="220226" cy="220226"/>
          </a:xfrm>
          <a:prstGeom prst="ellipse">
            <a:avLst/>
          </a:prstGeom>
          <a:solidFill>
            <a:srgbClr val="23898B"/>
          </a:solidFill>
          <a:ln>
            <a:noFill/>
          </a:ln>
          <a:effectLst/>
        </p:spPr>
        <p:txBody>
          <a:bodyPr spcFirstLastPara="1" wrap="square" lIns="91425" tIns="72000" rIns="91425" bIns="4570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1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rPr>
              <a:t>9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F15C1F4-2B3D-971C-4198-825240384FB5}"/>
              </a:ext>
            </a:extLst>
          </p:cNvPr>
          <p:cNvSpPr txBox="1"/>
          <p:nvPr/>
        </p:nvSpPr>
        <p:spPr>
          <a:xfrm>
            <a:off x="6735415" y="2097023"/>
            <a:ext cx="1354538" cy="169277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me of Main group</a:t>
            </a:r>
            <a:endParaRPr kumimoji="0" lang="ar-SA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FE66D775-80BF-1C1E-4833-F5E8F5B65BC8}"/>
              </a:ext>
            </a:extLst>
          </p:cNvPr>
          <p:cNvSpPr>
            <a:spLocks noChangeAspect="1"/>
          </p:cNvSpPr>
          <p:nvPr/>
        </p:nvSpPr>
        <p:spPr>
          <a:xfrm rot="10800000" flipH="1">
            <a:off x="4114756" y="2355692"/>
            <a:ext cx="1079461" cy="2706072"/>
          </a:xfrm>
          <a:custGeom>
            <a:avLst/>
            <a:gdLst>
              <a:gd name="connsiteX0" fmla="*/ 0 w 1865671"/>
              <a:gd name="connsiteY0" fmla="*/ 0 h 3731342"/>
              <a:gd name="connsiteX1" fmla="*/ 1865671 w 1865671"/>
              <a:gd name="connsiteY1" fmla="*/ 1865671 h 3731342"/>
              <a:gd name="connsiteX2" fmla="*/ 0 w 1865671"/>
              <a:gd name="connsiteY2" fmla="*/ 3731342 h 3731342"/>
              <a:gd name="connsiteX3" fmla="*/ 0 w 1865671"/>
              <a:gd name="connsiteY3" fmla="*/ 0 h 3731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5671" h="3731342">
                <a:moveTo>
                  <a:pt x="0" y="0"/>
                </a:moveTo>
                <a:cubicBezTo>
                  <a:pt x="1030382" y="0"/>
                  <a:pt x="1865671" y="835289"/>
                  <a:pt x="1865671" y="1865671"/>
                </a:cubicBezTo>
                <a:cubicBezTo>
                  <a:pt x="1865671" y="2896053"/>
                  <a:pt x="1030382" y="3731342"/>
                  <a:pt x="0" y="3731342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6" name="Picture 50">
            <a:extLst>
              <a:ext uri="{FF2B5EF4-FFF2-40B4-BE49-F238E27FC236}">
                <a16:creationId xmlns:a16="http://schemas.microsoft.com/office/drawing/2014/main" id="{0199AD5F-3538-AE62-C821-9DFFE15D3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088" y="3109344"/>
            <a:ext cx="675081" cy="49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14FD7A92-2790-8CD0-CF9A-EA69DCF0F87F}"/>
              </a:ext>
            </a:extLst>
          </p:cNvPr>
          <p:cNvSpPr txBox="1"/>
          <p:nvPr/>
        </p:nvSpPr>
        <p:spPr>
          <a:xfrm>
            <a:off x="9604849" y="2097023"/>
            <a:ext cx="1245534" cy="169277"/>
          </a:xfrm>
          <a:prstGeom prst="rect">
            <a:avLst/>
          </a:prstGeom>
          <a:noFill/>
        </p:spPr>
        <p:txBody>
          <a:bodyPr wrap="none" lIns="0" tIns="0" rIns="0" bIns="0" rtlCol="1">
            <a:spAutoFit/>
          </a:bodyPr>
          <a:lstStyle/>
          <a:p>
            <a:pPr marL="0" marR="0" lvl="0" indent="0" algn="ctr" defTabSz="914400" rtl="1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No. of Professions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1CA0A73F-202C-7ABC-58A1-1AF5BD387463}"/>
              </a:ext>
            </a:extLst>
          </p:cNvPr>
          <p:cNvGrpSpPr/>
          <p:nvPr/>
        </p:nvGrpSpPr>
        <p:grpSpPr>
          <a:xfrm>
            <a:off x="9602966" y="2328343"/>
            <a:ext cx="1245534" cy="2725099"/>
            <a:chOff x="4058663" y="1873796"/>
            <a:chExt cx="2757957" cy="2252147"/>
          </a:xfrm>
        </p:grpSpPr>
        <p:sp>
          <p:nvSpPr>
            <p:cNvPr id="103" name="Google Shape;340;p25">
              <a:extLst>
                <a:ext uri="{FF2B5EF4-FFF2-40B4-BE49-F238E27FC236}">
                  <a16:creationId xmlns:a16="http://schemas.microsoft.com/office/drawing/2014/main" id="{65AC53F6-00F3-FA67-8307-D465FD4EACDF}"/>
                </a:ext>
              </a:extLst>
            </p:cNvPr>
            <p:cNvSpPr txBox="1"/>
            <p:nvPr/>
          </p:nvSpPr>
          <p:spPr>
            <a:xfrm flipH="1">
              <a:off x="4058664" y="187379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rgbClr val="D9D9D9"/>
                  </a:solidFill>
                  <a:effectLst/>
                  <a:uLnTx/>
                  <a:uFillTx/>
                  <a:latin typeface="Arial" panose="020B0604020202020204" pitchFamily="34" charset="0"/>
                  <a:ea typeface="Roche Sans"/>
                  <a:cs typeface="Arial" panose="020B0604020202020204" pitchFamily="34" charset="0"/>
                  <a:sym typeface="Roche Sans"/>
                </a:rPr>
                <a:t>312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4" name="Google Shape;341;p25">
              <a:extLst>
                <a:ext uri="{FF2B5EF4-FFF2-40B4-BE49-F238E27FC236}">
                  <a16:creationId xmlns:a16="http://schemas.microsoft.com/office/drawing/2014/main" id="{8625D743-732B-2818-98CF-8E26336E9FAF}"/>
                </a:ext>
              </a:extLst>
            </p:cNvPr>
            <p:cNvSpPr txBox="1"/>
            <p:nvPr/>
          </p:nvSpPr>
          <p:spPr>
            <a:xfrm flipH="1">
              <a:off x="4058664" y="212778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rgbClr val="D9D9D9"/>
                  </a:solidFill>
                  <a:effectLst/>
                  <a:uLnTx/>
                  <a:uFillTx/>
                  <a:latin typeface="Arial" panose="020B0604020202020204" pitchFamily="34" charset="0"/>
                  <a:ea typeface="Roche Sans"/>
                  <a:cs typeface="Arial" panose="020B0604020202020204" pitchFamily="34" charset="0"/>
                  <a:sym typeface="Roche Sans"/>
                </a:rPr>
                <a:t>630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5" name="Google Shape;342;p25">
              <a:extLst>
                <a:ext uri="{FF2B5EF4-FFF2-40B4-BE49-F238E27FC236}">
                  <a16:creationId xmlns:a16="http://schemas.microsoft.com/office/drawing/2014/main" id="{92248A71-B55A-57F8-25F6-BD0AD01306C1}"/>
                </a:ext>
              </a:extLst>
            </p:cNvPr>
            <p:cNvSpPr txBox="1"/>
            <p:nvPr/>
          </p:nvSpPr>
          <p:spPr>
            <a:xfrm flipH="1">
              <a:off x="4058664" y="238177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F2F2F2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solidFill>
                    <a:srgbClr val="D9D9D9"/>
                  </a:solidFill>
                  <a:effectLst/>
                  <a:uLnTx/>
                  <a:uFillTx/>
                  <a:latin typeface="Arial" panose="020B0604020202020204" pitchFamily="34" charset="0"/>
                  <a:ea typeface="Roche Sans"/>
                  <a:cs typeface="Arial" panose="020B0604020202020204" pitchFamily="34" charset="0"/>
                  <a:sym typeface="Roche Sans"/>
                </a:rPr>
                <a:t>373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ea typeface="Roche Sans Light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6" name="Google Shape;343;p25">
              <a:extLst>
                <a:ext uri="{FF2B5EF4-FFF2-40B4-BE49-F238E27FC236}">
                  <a16:creationId xmlns:a16="http://schemas.microsoft.com/office/drawing/2014/main" id="{76FF471B-CF72-4922-6FB7-B2647A5A03FF}"/>
                </a:ext>
              </a:extLst>
            </p:cNvPr>
            <p:cNvSpPr txBox="1"/>
            <p:nvPr/>
          </p:nvSpPr>
          <p:spPr>
            <a:xfrm flipH="1">
              <a:off x="4058663" y="288975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109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7" name="Google Shape;344;p25">
              <a:extLst>
                <a:ext uri="{FF2B5EF4-FFF2-40B4-BE49-F238E27FC236}">
                  <a16:creationId xmlns:a16="http://schemas.microsoft.com/office/drawing/2014/main" id="{6EF7CB90-176B-69C8-2B8D-4BD0D1AB26E7}"/>
                </a:ext>
              </a:extLst>
            </p:cNvPr>
            <p:cNvSpPr txBox="1"/>
            <p:nvPr/>
          </p:nvSpPr>
          <p:spPr>
            <a:xfrm flipH="1">
              <a:off x="4058663" y="314374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53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8" name="Google Shape;345;p25">
              <a:extLst>
                <a:ext uri="{FF2B5EF4-FFF2-40B4-BE49-F238E27FC236}">
                  <a16:creationId xmlns:a16="http://schemas.microsoft.com/office/drawing/2014/main" id="{4B68A974-E38F-41C7-FF2F-4FFAAD589422}"/>
                </a:ext>
              </a:extLst>
            </p:cNvPr>
            <p:cNvSpPr txBox="1"/>
            <p:nvPr/>
          </p:nvSpPr>
          <p:spPr>
            <a:xfrm flipH="1">
              <a:off x="4058663" y="263576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52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09" name="Google Shape;346;p25">
              <a:extLst>
                <a:ext uri="{FF2B5EF4-FFF2-40B4-BE49-F238E27FC236}">
                  <a16:creationId xmlns:a16="http://schemas.microsoft.com/office/drawing/2014/main" id="{D35377F0-EB9F-02A4-B657-CDF28DA8200B}"/>
                </a:ext>
              </a:extLst>
            </p:cNvPr>
            <p:cNvSpPr txBox="1"/>
            <p:nvPr/>
          </p:nvSpPr>
          <p:spPr>
            <a:xfrm flipH="1">
              <a:off x="4058663" y="3397737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179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10" name="Google Shape;347;p25">
              <a:extLst>
                <a:ext uri="{FF2B5EF4-FFF2-40B4-BE49-F238E27FC236}">
                  <a16:creationId xmlns:a16="http://schemas.microsoft.com/office/drawing/2014/main" id="{C5BCABF7-3F72-D8B1-7251-44AA57C15662}"/>
                </a:ext>
              </a:extLst>
            </p:cNvPr>
            <p:cNvSpPr txBox="1"/>
            <p:nvPr/>
          </p:nvSpPr>
          <p:spPr>
            <a:xfrm flipH="1">
              <a:off x="4058663" y="3651725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Tx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218</a:t>
              </a:r>
              <a:endParaRPr kumimoji="0" lang="ar-SA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  <p:sp>
          <p:nvSpPr>
            <p:cNvPr id="111" name="Google Shape;348;p25">
              <a:extLst>
                <a:ext uri="{FF2B5EF4-FFF2-40B4-BE49-F238E27FC236}">
                  <a16:creationId xmlns:a16="http://schemas.microsoft.com/office/drawing/2014/main" id="{DA3F588E-7E49-FD78-EC82-3C725A2B7DE8}"/>
                </a:ext>
              </a:extLst>
            </p:cNvPr>
            <p:cNvSpPr txBox="1"/>
            <p:nvPr/>
          </p:nvSpPr>
          <p:spPr>
            <a:xfrm flipH="1">
              <a:off x="4058664" y="3905716"/>
              <a:ext cx="2757956" cy="220227"/>
            </a:xfrm>
            <a:prstGeom prst="roundRect">
              <a:avLst>
                <a:gd name="adj" fmla="val 50000"/>
              </a:avLst>
            </a:prstGeom>
            <a:solidFill>
              <a:srgbClr val="8FC2C3"/>
            </a:solidFill>
            <a:ln>
              <a:noFill/>
            </a:ln>
          </p:spPr>
          <p:txBody>
            <a:bodyPr spcFirstLastPara="1" wrap="square" lIns="36000" tIns="91425" rIns="288000" bIns="91425" anchor="ctr" anchorCtr="0">
              <a:noAutofit/>
            </a:bodyPr>
            <a:lstStyle/>
            <a:p>
              <a:pPr marL="228600" marR="0" lvl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1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che Sans"/>
                </a:rPr>
                <a:t>77</a:t>
              </a:r>
              <a:endParaRPr kumimoji="0" sz="11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che Sans Light"/>
              </a:endParaRPr>
            </a:p>
          </p:txBody>
        </p:sp>
      </p:grpSp>
      <p:cxnSp>
        <p:nvCxnSpPr>
          <p:cNvPr id="113" name="Google Shape;330;p25">
            <a:extLst>
              <a:ext uri="{FF2B5EF4-FFF2-40B4-BE49-F238E27FC236}">
                <a16:creationId xmlns:a16="http://schemas.microsoft.com/office/drawing/2014/main" id="{ADE12DFD-73A2-AADB-48D0-34A977E3E470}"/>
              </a:ext>
            </a:extLst>
          </p:cNvPr>
          <p:cNvCxnSpPr>
            <a:cxnSpLocks/>
          </p:cNvCxnSpPr>
          <p:nvPr/>
        </p:nvCxnSpPr>
        <p:spPr>
          <a:xfrm flipH="1">
            <a:off x="5599253" y="3690893"/>
            <a:ext cx="258426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15" name="Google Shape;330;p25">
            <a:extLst>
              <a:ext uri="{FF2B5EF4-FFF2-40B4-BE49-F238E27FC236}">
                <a16:creationId xmlns:a16="http://schemas.microsoft.com/office/drawing/2014/main" id="{6BF477FF-7F39-4EE0-378A-3EBB03DEAA6A}"/>
              </a:ext>
            </a:extLst>
          </p:cNvPr>
          <p:cNvCxnSpPr>
            <a:cxnSpLocks/>
          </p:cNvCxnSpPr>
          <p:nvPr/>
        </p:nvCxnSpPr>
        <p:spPr>
          <a:xfrm flipH="1">
            <a:off x="5499907" y="4006754"/>
            <a:ext cx="357772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18" name="Google Shape;330;p25">
            <a:extLst>
              <a:ext uri="{FF2B5EF4-FFF2-40B4-BE49-F238E27FC236}">
                <a16:creationId xmlns:a16="http://schemas.microsoft.com/office/drawing/2014/main" id="{1219BFB3-2545-1F9B-F0DF-E4220078E8B9}"/>
              </a:ext>
            </a:extLst>
          </p:cNvPr>
          <p:cNvCxnSpPr>
            <a:cxnSpLocks/>
          </p:cNvCxnSpPr>
          <p:nvPr/>
        </p:nvCxnSpPr>
        <p:spPr>
          <a:xfrm flipH="1">
            <a:off x="5499907" y="3395034"/>
            <a:ext cx="357772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19" name="Google Shape;330;p25">
            <a:extLst>
              <a:ext uri="{FF2B5EF4-FFF2-40B4-BE49-F238E27FC236}">
                <a16:creationId xmlns:a16="http://schemas.microsoft.com/office/drawing/2014/main" id="{D64AECA9-D292-28BB-C4F7-FC8162112C8A}"/>
              </a:ext>
            </a:extLst>
          </p:cNvPr>
          <p:cNvCxnSpPr>
            <a:cxnSpLocks/>
          </p:cNvCxnSpPr>
          <p:nvPr/>
        </p:nvCxnSpPr>
        <p:spPr>
          <a:xfrm flipH="1" flipV="1">
            <a:off x="5359504" y="3082316"/>
            <a:ext cx="498175" cy="73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23" name="Google Shape;330;p25">
            <a:extLst>
              <a:ext uri="{FF2B5EF4-FFF2-40B4-BE49-F238E27FC236}">
                <a16:creationId xmlns:a16="http://schemas.microsoft.com/office/drawing/2014/main" id="{99E3EF7A-CF45-2DDE-6FCE-951BAA994323}"/>
              </a:ext>
            </a:extLst>
          </p:cNvPr>
          <p:cNvCxnSpPr>
            <a:cxnSpLocks/>
          </p:cNvCxnSpPr>
          <p:nvPr/>
        </p:nvCxnSpPr>
        <p:spPr>
          <a:xfrm flipH="1" flipV="1">
            <a:off x="5359504" y="4334582"/>
            <a:ext cx="498175" cy="73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33" name="Google Shape;330;p25">
            <a:extLst>
              <a:ext uri="{FF2B5EF4-FFF2-40B4-BE49-F238E27FC236}">
                <a16:creationId xmlns:a16="http://schemas.microsoft.com/office/drawing/2014/main" id="{FB2253B3-ACD5-8A72-79CA-1D9E37A4C573}"/>
              </a:ext>
            </a:extLst>
          </p:cNvPr>
          <p:cNvCxnSpPr>
            <a:cxnSpLocks/>
          </p:cNvCxnSpPr>
          <p:nvPr/>
        </p:nvCxnSpPr>
        <p:spPr>
          <a:xfrm flipH="1">
            <a:off x="5060299" y="4626841"/>
            <a:ext cx="797380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37" name="Google Shape;330;p25">
            <a:extLst>
              <a:ext uri="{FF2B5EF4-FFF2-40B4-BE49-F238E27FC236}">
                <a16:creationId xmlns:a16="http://schemas.microsoft.com/office/drawing/2014/main" id="{313145AB-EB66-D803-854F-5D6829F6F161}"/>
              </a:ext>
            </a:extLst>
          </p:cNvPr>
          <p:cNvCxnSpPr>
            <a:cxnSpLocks/>
          </p:cNvCxnSpPr>
          <p:nvPr/>
        </p:nvCxnSpPr>
        <p:spPr>
          <a:xfrm flipH="1">
            <a:off x="4794198" y="4928737"/>
            <a:ext cx="1063481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39" name="Google Shape;330;p25">
            <a:extLst>
              <a:ext uri="{FF2B5EF4-FFF2-40B4-BE49-F238E27FC236}">
                <a16:creationId xmlns:a16="http://schemas.microsoft.com/office/drawing/2014/main" id="{352F3A4C-A7A1-C5F5-4264-79C1124C1732}"/>
              </a:ext>
            </a:extLst>
          </p:cNvPr>
          <p:cNvCxnSpPr>
            <a:cxnSpLocks/>
          </p:cNvCxnSpPr>
          <p:nvPr/>
        </p:nvCxnSpPr>
        <p:spPr>
          <a:xfrm flipH="1">
            <a:off x="5060299" y="2769115"/>
            <a:ext cx="797380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cxnSp>
        <p:nvCxnSpPr>
          <p:cNvPr id="140" name="Google Shape;330;p25">
            <a:extLst>
              <a:ext uri="{FF2B5EF4-FFF2-40B4-BE49-F238E27FC236}">
                <a16:creationId xmlns:a16="http://schemas.microsoft.com/office/drawing/2014/main" id="{FD61C313-FB15-16C0-DFA6-5AF5363E3995}"/>
              </a:ext>
            </a:extLst>
          </p:cNvPr>
          <p:cNvCxnSpPr>
            <a:cxnSpLocks/>
          </p:cNvCxnSpPr>
          <p:nvPr/>
        </p:nvCxnSpPr>
        <p:spPr>
          <a:xfrm flipH="1">
            <a:off x="4794198" y="2459340"/>
            <a:ext cx="1063481" cy="0"/>
          </a:xfrm>
          <a:prstGeom prst="straightConnector1">
            <a:avLst/>
          </a:prstGeom>
          <a:noFill/>
          <a:ln w="6350" cap="flat" cmpd="sng">
            <a:solidFill>
              <a:srgbClr val="BFBFBF"/>
            </a:solidFill>
            <a:prstDash val="solid"/>
            <a:miter lim="800000"/>
            <a:headEnd type="none" w="sm" len="sm"/>
            <a:tailEnd type="oval" w="sm" len="sm"/>
          </a:ln>
        </p:spPr>
      </p:cxnSp>
      <p:sp>
        <p:nvSpPr>
          <p:cNvPr id="146" name="TextBox 145">
            <a:extLst>
              <a:ext uri="{FF2B5EF4-FFF2-40B4-BE49-F238E27FC236}">
                <a16:creationId xmlns:a16="http://schemas.microsoft.com/office/drawing/2014/main" id="{33AFF6EE-B8B1-DBA9-1C6B-F0BF84FAF477}"/>
              </a:ext>
            </a:extLst>
          </p:cNvPr>
          <p:cNvSpPr txBox="1"/>
          <p:nvPr/>
        </p:nvSpPr>
        <p:spPr>
          <a:xfrm>
            <a:off x="6371979" y="5467867"/>
            <a:ext cx="671659" cy="161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gh skills</a:t>
            </a: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8C474F9-676F-6788-A8A5-FC1FC3DEC855}"/>
              </a:ext>
            </a:extLst>
          </p:cNvPr>
          <p:cNvSpPr>
            <a:spLocks noChangeAspect="1"/>
          </p:cNvSpPr>
          <p:nvPr/>
        </p:nvSpPr>
        <p:spPr>
          <a:xfrm>
            <a:off x="5959089" y="5387819"/>
            <a:ext cx="332599" cy="33259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Graphic 620">
            <a:extLst>
              <a:ext uri="{FF2B5EF4-FFF2-40B4-BE49-F238E27FC236}">
                <a16:creationId xmlns:a16="http://schemas.microsoft.com/office/drawing/2014/main" id="{071816B0-4249-9481-FC31-E210F99EDA3E}"/>
              </a:ext>
            </a:extLst>
          </p:cNvPr>
          <p:cNvSpPr>
            <a:spLocks noChangeAspect="1"/>
          </p:cNvSpPr>
          <p:nvPr/>
        </p:nvSpPr>
        <p:spPr>
          <a:xfrm>
            <a:off x="6033093" y="5434380"/>
            <a:ext cx="184589" cy="239477"/>
          </a:xfrm>
          <a:custGeom>
            <a:avLst/>
            <a:gdLst>
              <a:gd name="connsiteX0" fmla="*/ 897777 w 2349032"/>
              <a:gd name="connsiteY0" fmla="*/ 1539221 h 3047524"/>
              <a:gd name="connsiteX1" fmla="*/ 896730 w 2349032"/>
              <a:gd name="connsiteY1" fmla="*/ 1439114 h 3047524"/>
              <a:gd name="connsiteX2" fmla="*/ 874727 w 2349032"/>
              <a:gd name="connsiteY2" fmla="*/ 1391489 h 3047524"/>
              <a:gd name="connsiteX3" fmla="*/ 721279 w 2349032"/>
              <a:gd name="connsiteY3" fmla="*/ 1134885 h 3047524"/>
              <a:gd name="connsiteX4" fmla="*/ 683560 w 2349032"/>
              <a:gd name="connsiteY4" fmla="*/ 1097357 h 3047524"/>
              <a:gd name="connsiteX5" fmla="*/ 559354 w 2349032"/>
              <a:gd name="connsiteY5" fmla="*/ 787032 h 3047524"/>
              <a:gd name="connsiteX6" fmla="*/ 573546 w 2349032"/>
              <a:gd name="connsiteY6" fmla="*/ 729215 h 3047524"/>
              <a:gd name="connsiteX7" fmla="*/ 595549 w 2349032"/>
              <a:gd name="connsiteY7" fmla="*/ 436607 h 3047524"/>
              <a:gd name="connsiteX8" fmla="*/ 1035890 w 2349032"/>
              <a:gd name="connsiteY8" fmla="*/ 4553 h 3047524"/>
              <a:gd name="connsiteX9" fmla="*/ 1105518 w 2349032"/>
              <a:gd name="connsiteY9" fmla="*/ 31414 h 3047524"/>
              <a:gd name="connsiteX10" fmla="*/ 1056369 w 2349032"/>
              <a:gd name="connsiteY10" fmla="*/ 92374 h 3047524"/>
              <a:gd name="connsiteX11" fmla="*/ 676035 w 2349032"/>
              <a:gd name="connsiteY11" fmla="*/ 480422 h 3047524"/>
              <a:gd name="connsiteX12" fmla="*/ 655366 w 2349032"/>
              <a:gd name="connsiteY12" fmla="*/ 701498 h 3047524"/>
              <a:gd name="connsiteX13" fmla="*/ 671749 w 2349032"/>
              <a:gd name="connsiteY13" fmla="*/ 712356 h 3047524"/>
              <a:gd name="connsiteX14" fmla="*/ 725946 w 2349032"/>
              <a:gd name="connsiteY14" fmla="*/ 673589 h 3047524"/>
              <a:gd name="connsiteX15" fmla="*/ 802527 w 2349032"/>
              <a:gd name="connsiteY15" fmla="*/ 636918 h 3047524"/>
              <a:gd name="connsiteX16" fmla="*/ 1358692 w 2349032"/>
              <a:gd name="connsiteY16" fmla="*/ 486804 h 3047524"/>
              <a:gd name="connsiteX17" fmla="*/ 1481469 w 2349032"/>
              <a:gd name="connsiteY17" fmla="*/ 502520 h 3047524"/>
              <a:gd name="connsiteX18" fmla="*/ 1622630 w 2349032"/>
              <a:gd name="connsiteY18" fmla="*/ 668255 h 3047524"/>
              <a:gd name="connsiteX19" fmla="*/ 1665302 w 2349032"/>
              <a:gd name="connsiteY19" fmla="*/ 717690 h 3047524"/>
              <a:gd name="connsiteX20" fmla="*/ 1324307 w 2349032"/>
              <a:gd name="connsiteY20" fmla="*/ 103899 h 3047524"/>
              <a:gd name="connsiteX21" fmla="*/ 1273920 w 2349032"/>
              <a:gd name="connsiteY21" fmla="*/ 89993 h 3047524"/>
              <a:gd name="connsiteX22" fmla="*/ 1231914 w 2349032"/>
              <a:gd name="connsiteY22" fmla="*/ 32938 h 3047524"/>
              <a:gd name="connsiteX23" fmla="*/ 1296113 w 2349032"/>
              <a:gd name="connsiteY23" fmla="*/ 2744 h 3047524"/>
              <a:gd name="connsiteX24" fmla="*/ 1658634 w 2349032"/>
              <a:gd name="connsiteY24" fmla="*/ 245441 h 3047524"/>
              <a:gd name="connsiteX25" fmla="*/ 1765696 w 2349032"/>
              <a:gd name="connsiteY25" fmla="*/ 584340 h 3047524"/>
              <a:gd name="connsiteX26" fmla="*/ 1765505 w 2349032"/>
              <a:gd name="connsiteY26" fmla="*/ 689115 h 3047524"/>
              <a:gd name="connsiteX27" fmla="*/ 1792747 w 2349032"/>
              <a:gd name="connsiteY27" fmla="*/ 810940 h 3047524"/>
              <a:gd name="connsiteX28" fmla="*/ 1665302 w 2349032"/>
              <a:gd name="connsiteY28" fmla="*/ 1092880 h 3047524"/>
              <a:gd name="connsiteX29" fmla="*/ 1611009 w 2349032"/>
              <a:gd name="connsiteY29" fmla="*/ 1151554 h 3047524"/>
              <a:gd name="connsiteX30" fmla="*/ 1473945 w 2349032"/>
              <a:gd name="connsiteY30" fmla="*/ 1379868 h 3047524"/>
              <a:gd name="connsiteX31" fmla="*/ 1450513 w 2349032"/>
              <a:gd name="connsiteY31" fmla="*/ 1485596 h 3047524"/>
              <a:gd name="connsiteX32" fmla="*/ 1507473 w 2349032"/>
              <a:gd name="connsiteY32" fmla="*/ 1564653 h 3047524"/>
              <a:gd name="connsiteX33" fmla="*/ 2007821 w 2349032"/>
              <a:gd name="connsiteY33" fmla="*/ 1757630 h 3047524"/>
              <a:gd name="connsiteX34" fmla="*/ 2283856 w 2349032"/>
              <a:gd name="connsiteY34" fmla="*/ 2163109 h 3047524"/>
              <a:gd name="connsiteX35" fmla="*/ 2238136 w 2349032"/>
              <a:gd name="connsiteY35" fmla="*/ 2221688 h 3047524"/>
              <a:gd name="connsiteX36" fmla="*/ 2194130 w 2349032"/>
              <a:gd name="connsiteY36" fmla="*/ 2165681 h 3047524"/>
              <a:gd name="connsiteX37" fmla="*/ 1951814 w 2349032"/>
              <a:gd name="connsiteY37" fmla="*/ 1832687 h 3047524"/>
              <a:gd name="connsiteX38" fmla="*/ 1646823 w 2349032"/>
              <a:gd name="connsiteY38" fmla="*/ 1714767 h 3047524"/>
              <a:gd name="connsiteX39" fmla="*/ 1508616 w 2349032"/>
              <a:gd name="connsiteY39" fmla="*/ 1991183 h 3047524"/>
              <a:gd name="connsiteX40" fmla="*/ 1351739 w 2349032"/>
              <a:gd name="connsiteY40" fmla="*/ 2041189 h 3047524"/>
              <a:gd name="connsiteX41" fmla="*/ 1316592 w 2349032"/>
              <a:gd name="connsiteY41" fmla="*/ 2159585 h 3047524"/>
              <a:gd name="connsiteX42" fmla="*/ 1374504 w 2349032"/>
              <a:gd name="connsiteY42" fmla="*/ 2501342 h 3047524"/>
              <a:gd name="connsiteX43" fmla="*/ 1419271 w 2349032"/>
              <a:gd name="connsiteY43" fmla="*/ 2543823 h 3047524"/>
              <a:gd name="connsiteX44" fmla="*/ 1424034 w 2349032"/>
              <a:gd name="connsiteY44" fmla="*/ 2544204 h 3047524"/>
              <a:gd name="connsiteX45" fmla="*/ 1541191 w 2349032"/>
              <a:gd name="connsiteY45" fmla="*/ 2606783 h 3047524"/>
              <a:gd name="connsiteX46" fmla="*/ 1486899 w 2349032"/>
              <a:gd name="connsiteY46" fmla="*/ 2713845 h 3047524"/>
              <a:gd name="connsiteX47" fmla="*/ 1471087 w 2349032"/>
              <a:gd name="connsiteY47" fmla="*/ 2732132 h 3047524"/>
              <a:gd name="connsiteX48" fmla="*/ 1673113 w 2349032"/>
              <a:gd name="connsiteY48" fmla="*/ 2732132 h 3047524"/>
              <a:gd name="connsiteX49" fmla="*/ 1683876 w 2349032"/>
              <a:gd name="connsiteY49" fmla="*/ 2721560 h 3047524"/>
              <a:gd name="connsiteX50" fmla="*/ 1638156 w 2349032"/>
              <a:gd name="connsiteY50" fmla="*/ 2685270 h 3047524"/>
              <a:gd name="connsiteX51" fmla="*/ 1616343 w 2349032"/>
              <a:gd name="connsiteY51" fmla="*/ 2604402 h 3047524"/>
              <a:gd name="connsiteX52" fmla="*/ 1681590 w 2349032"/>
              <a:gd name="connsiteY52" fmla="*/ 2553348 h 3047524"/>
              <a:gd name="connsiteX53" fmla="*/ 1812273 w 2349032"/>
              <a:gd name="connsiteY53" fmla="*/ 2531060 h 3047524"/>
              <a:gd name="connsiteX54" fmla="*/ 1813797 w 2349032"/>
              <a:gd name="connsiteY54" fmla="*/ 2254454 h 3047524"/>
              <a:gd name="connsiteX55" fmla="*/ 1846848 w 2349032"/>
              <a:gd name="connsiteY55" fmla="*/ 2204733 h 3047524"/>
              <a:gd name="connsiteX56" fmla="*/ 1890378 w 2349032"/>
              <a:gd name="connsiteY56" fmla="*/ 2221592 h 3047524"/>
              <a:gd name="connsiteX57" fmla="*/ 1898569 w 2349032"/>
              <a:gd name="connsiteY57" fmla="*/ 2256930 h 3047524"/>
              <a:gd name="connsiteX58" fmla="*/ 1898950 w 2349032"/>
              <a:gd name="connsiteY58" fmla="*/ 2388947 h 3047524"/>
              <a:gd name="connsiteX59" fmla="*/ 1920667 w 2349032"/>
              <a:gd name="connsiteY59" fmla="*/ 2365706 h 3047524"/>
              <a:gd name="connsiteX60" fmla="*/ 2044206 w 2349032"/>
              <a:gd name="connsiteY60" fmla="*/ 2378279 h 3047524"/>
              <a:gd name="connsiteX61" fmla="*/ 2092689 w 2349032"/>
              <a:gd name="connsiteY61" fmla="*/ 2475910 h 3047524"/>
              <a:gd name="connsiteX62" fmla="*/ 2194321 w 2349032"/>
              <a:gd name="connsiteY62" fmla="*/ 2531345 h 3047524"/>
              <a:gd name="connsiteX63" fmla="*/ 2194225 w 2349032"/>
              <a:gd name="connsiteY63" fmla="*/ 2404472 h 3047524"/>
              <a:gd name="connsiteX64" fmla="*/ 2239279 w 2349032"/>
              <a:gd name="connsiteY64" fmla="*/ 2343989 h 3047524"/>
              <a:gd name="connsiteX65" fmla="*/ 2283951 w 2349032"/>
              <a:gd name="connsiteY65" fmla="*/ 2404282 h 3047524"/>
              <a:gd name="connsiteX66" fmla="*/ 2284236 w 2349032"/>
              <a:gd name="connsiteY66" fmla="*/ 2485245 h 3047524"/>
              <a:gd name="connsiteX67" fmla="*/ 2321670 w 2349032"/>
              <a:gd name="connsiteY67" fmla="*/ 2572493 h 3047524"/>
              <a:gd name="connsiteX68" fmla="*/ 2324527 w 2349032"/>
              <a:gd name="connsiteY68" fmla="*/ 2680983 h 3047524"/>
              <a:gd name="connsiteX69" fmla="*/ 2239088 w 2349032"/>
              <a:gd name="connsiteY69" fmla="*/ 2763755 h 3047524"/>
              <a:gd name="connsiteX70" fmla="*/ 2213275 w 2349032"/>
              <a:gd name="connsiteY70" fmla="*/ 2838622 h 3047524"/>
              <a:gd name="connsiteX71" fmla="*/ 2232135 w 2349032"/>
              <a:gd name="connsiteY71" fmla="*/ 2970162 h 3047524"/>
              <a:gd name="connsiteX72" fmla="*/ 2130027 w 2349032"/>
              <a:gd name="connsiteY72" fmla="*/ 3039599 h 3047524"/>
              <a:gd name="connsiteX73" fmla="*/ 1977246 w 2349032"/>
              <a:gd name="connsiteY73" fmla="*/ 2969591 h 3047524"/>
              <a:gd name="connsiteX74" fmla="*/ 1829132 w 2349032"/>
              <a:gd name="connsiteY74" fmla="*/ 3039123 h 3047524"/>
              <a:gd name="connsiteX75" fmla="*/ 1723976 w 2349032"/>
              <a:gd name="connsiteY75" fmla="*/ 2962542 h 3047524"/>
              <a:gd name="connsiteX76" fmla="*/ 1743979 w 2349032"/>
              <a:gd name="connsiteY76" fmla="*/ 2831859 h 3047524"/>
              <a:gd name="connsiteX77" fmla="*/ 1409460 w 2349032"/>
              <a:gd name="connsiteY77" fmla="*/ 2831859 h 3047524"/>
              <a:gd name="connsiteX78" fmla="*/ 1426225 w 2349032"/>
              <a:gd name="connsiteY78" fmla="*/ 2944349 h 3047524"/>
              <a:gd name="connsiteX79" fmla="*/ 1401650 w 2349032"/>
              <a:gd name="connsiteY79" fmla="*/ 3027979 h 3047524"/>
              <a:gd name="connsiteX80" fmla="*/ 1316497 w 2349032"/>
              <a:gd name="connsiteY80" fmla="*/ 3033980 h 3047524"/>
              <a:gd name="connsiteX81" fmla="*/ 1030651 w 2349032"/>
              <a:gd name="connsiteY81" fmla="*/ 3034932 h 3047524"/>
              <a:gd name="connsiteX82" fmla="*/ 949022 w 2349032"/>
              <a:gd name="connsiteY82" fmla="*/ 3030265 h 3047524"/>
              <a:gd name="connsiteX83" fmla="*/ 921495 w 2349032"/>
              <a:gd name="connsiteY83" fmla="*/ 2947207 h 3047524"/>
              <a:gd name="connsiteX84" fmla="*/ 939592 w 2349032"/>
              <a:gd name="connsiteY84" fmla="*/ 2831288 h 3047524"/>
              <a:gd name="connsiteX85" fmla="*/ 604598 w 2349032"/>
              <a:gd name="connsiteY85" fmla="*/ 2831288 h 3047524"/>
              <a:gd name="connsiteX86" fmla="*/ 624315 w 2349032"/>
              <a:gd name="connsiteY86" fmla="*/ 2959304 h 3047524"/>
              <a:gd name="connsiteX87" fmla="*/ 513158 w 2349032"/>
              <a:gd name="connsiteY87" fmla="*/ 3037123 h 3047524"/>
              <a:gd name="connsiteX88" fmla="*/ 369521 w 2349032"/>
              <a:gd name="connsiteY88" fmla="*/ 2969019 h 3047524"/>
              <a:gd name="connsiteX89" fmla="*/ 225884 w 2349032"/>
              <a:gd name="connsiteY89" fmla="*/ 3037123 h 3047524"/>
              <a:gd name="connsiteX90" fmla="*/ 116442 w 2349032"/>
              <a:gd name="connsiteY90" fmla="*/ 2963590 h 3047524"/>
              <a:gd name="connsiteX91" fmla="*/ 134158 w 2349032"/>
              <a:gd name="connsiteY91" fmla="*/ 2827192 h 3047524"/>
              <a:gd name="connsiteX92" fmla="*/ 113394 w 2349032"/>
              <a:gd name="connsiteY92" fmla="*/ 2770518 h 3047524"/>
              <a:gd name="connsiteX93" fmla="*/ 32526 w 2349032"/>
              <a:gd name="connsiteY93" fmla="*/ 2689937 h 3047524"/>
              <a:gd name="connsiteX94" fmla="*/ 42623 w 2349032"/>
              <a:gd name="connsiteY94" fmla="*/ 2558682 h 3047524"/>
              <a:gd name="connsiteX95" fmla="*/ 63197 w 2349032"/>
              <a:gd name="connsiteY95" fmla="*/ 2512010 h 3047524"/>
              <a:gd name="connsiteX96" fmla="*/ 67864 w 2349032"/>
              <a:gd name="connsiteY96" fmla="*/ 2131105 h 3047524"/>
              <a:gd name="connsiteX97" fmla="*/ 348280 w 2349032"/>
              <a:gd name="connsiteY97" fmla="*/ 1754677 h 3047524"/>
              <a:gd name="connsiteX98" fmla="*/ 852819 w 2349032"/>
              <a:gd name="connsiteY98" fmla="*/ 1559605 h 3047524"/>
              <a:gd name="connsiteX99" fmla="*/ 897777 w 2349032"/>
              <a:gd name="connsiteY99" fmla="*/ 1539221 h 3047524"/>
              <a:gd name="connsiteX100" fmla="*/ 701467 w 2349032"/>
              <a:gd name="connsiteY100" fmla="*/ 1714577 h 3047524"/>
              <a:gd name="connsiteX101" fmla="*/ 347804 w 2349032"/>
              <a:gd name="connsiteY101" fmla="*/ 1854023 h 3047524"/>
              <a:gd name="connsiteX102" fmla="*/ 165686 w 2349032"/>
              <a:gd name="connsiteY102" fmla="*/ 2087195 h 3047524"/>
              <a:gd name="connsiteX103" fmla="*/ 163114 w 2349032"/>
              <a:gd name="connsiteY103" fmla="*/ 2532965 h 3047524"/>
              <a:gd name="connsiteX104" fmla="*/ 255507 w 2349032"/>
              <a:gd name="connsiteY104" fmla="*/ 2475338 h 3047524"/>
              <a:gd name="connsiteX105" fmla="*/ 304846 w 2349032"/>
              <a:gd name="connsiteY105" fmla="*/ 2377993 h 3047524"/>
              <a:gd name="connsiteX106" fmla="*/ 424861 w 2349032"/>
              <a:gd name="connsiteY106" fmla="*/ 2363039 h 3047524"/>
              <a:gd name="connsiteX107" fmla="*/ 438672 w 2349032"/>
              <a:gd name="connsiteY107" fmla="*/ 2389994 h 3047524"/>
              <a:gd name="connsiteX108" fmla="*/ 451912 w 2349032"/>
              <a:gd name="connsiteY108" fmla="*/ 2247310 h 3047524"/>
              <a:gd name="connsiteX109" fmla="*/ 494394 w 2349032"/>
              <a:gd name="connsiteY109" fmla="*/ 2201114 h 3047524"/>
              <a:gd name="connsiteX110" fmla="*/ 534780 w 2349032"/>
              <a:gd name="connsiteY110" fmla="*/ 2246167 h 3047524"/>
              <a:gd name="connsiteX111" fmla="*/ 536494 w 2349032"/>
              <a:gd name="connsiteY111" fmla="*/ 2293125 h 3047524"/>
              <a:gd name="connsiteX112" fmla="*/ 536494 w 2349032"/>
              <a:gd name="connsiteY112" fmla="*/ 2530964 h 3047524"/>
              <a:gd name="connsiteX113" fmla="*/ 662986 w 2349032"/>
              <a:gd name="connsiteY113" fmla="*/ 2552777 h 3047524"/>
              <a:gd name="connsiteX114" fmla="*/ 732423 w 2349032"/>
              <a:gd name="connsiteY114" fmla="*/ 2600592 h 3047524"/>
              <a:gd name="connsiteX115" fmla="*/ 708135 w 2349032"/>
              <a:gd name="connsiteY115" fmla="*/ 2689746 h 3047524"/>
              <a:gd name="connsiteX116" fmla="*/ 666796 w 2349032"/>
              <a:gd name="connsiteY116" fmla="*/ 2732037 h 3047524"/>
              <a:gd name="connsiteX117" fmla="*/ 875013 w 2349032"/>
              <a:gd name="connsiteY117" fmla="*/ 2732037 h 3047524"/>
              <a:gd name="connsiteX118" fmla="*/ 864630 w 2349032"/>
              <a:gd name="connsiteY118" fmla="*/ 2717083 h 3047524"/>
              <a:gd name="connsiteX119" fmla="*/ 807957 w 2349032"/>
              <a:gd name="connsiteY119" fmla="*/ 2606403 h 3047524"/>
              <a:gd name="connsiteX120" fmla="*/ 930162 w 2349032"/>
              <a:gd name="connsiteY120" fmla="*/ 2544871 h 3047524"/>
              <a:gd name="connsiteX121" fmla="*/ 973501 w 2349032"/>
              <a:gd name="connsiteY121" fmla="*/ 2505342 h 3047524"/>
              <a:gd name="connsiteX122" fmla="*/ 1032556 w 2349032"/>
              <a:gd name="connsiteY122" fmla="*/ 2154155 h 3047524"/>
              <a:gd name="connsiteX123" fmla="*/ 996647 w 2349032"/>
              <a:gd name="connsiteY123" fmla="*/ 2041284 h 3047524"/>
              <a:gd name="connsiteX124" fmla="*/ 839294 w 2349032"/>
              <a:gd name="connsiteY124" fmla="*/ 1990611 h 3047524"/>
              <a:gd name="connsiteX125" fmla="*/ 701467 w 2349032"/>
              <a:gd name="connsiteY125" fmla="*/ 1714577 h 3047524"/>
              <a:gd name="connsiteX126" fmla="*/ 802908 w 2349032"/>
              <a:gd name="connsiteY126" fmla="*/ 723119 h 3047524"/>
              <a:gd name="connsiteX127" fmla="*/ 803004 w 2349032"/>
              <a:gd name="connsiteY127" fmla="*/ 1039540 h 3047524"/>
              <a:gd name="connsiteX128" fmla="*/ 1173431 w 2349032"/>
              <a:gd name="connsiteY128" fmla="*/ 1405014 h 3047524"/>
              <a:gd name="connsiteX129" fmla="*/ 1534809 w 2349032"/>
              <a:gd name="connsiteY129" fmla="*/ 1046207 h 3047524"/>
              <a:gd name="connsiteX130" fmla="*/ 1534714 w 2349032"/>
              <a:gd name="connsiteY130" fmla="*/ 722357 h 3047524"/>
              <a:gd name="connsiteX131" fmla="*/ 1521855 w 2349032"/>
              <a:gd name="connsiteY131" fmla="*/ 678828 h 3047524"/>
              <a:gd name="connsiteX132" fmla="*/ 1411270 w 2349032"/>
              <a:gd name="connsiteY132" fmla="*/ 560623 h 3047524"/>
              <a:gd name="connsiteX133" fmla="*/ 802908 w 2349032"/>
              <a:gd name="connsiteY133" fmla="*/ 723119 h 3047524"/>
              <a:gd name="connsiteX134" fmla="*/ 1439464 w 2349032"/>
              <a:gd name="connsiteY134" fmla="*/ 2644979 h 3047524"/>
              <a:gd name="connsiteX135" fmla="*/ 1261728 w 2349032"/>
              <a:gd name="connsiteY135" fmla="*/ 2597163 h 3047524"/>
              <a:gd name="connsiteX136" fmla="*/ 1165811 w 2349032"/>
              <a:gd name="connsiteY136" fmla="*/ 2443906 h 3047524"/>
              <a:gd name="connsiteX137" fmla="*/ 906731 w 2349032"/>
              <a:gd name="connsiteY137" fmla="*/ 2630310 h 3047524"/>
              <a:gd name="connsiteX138" fmla="*/ 1004457 w 2349032"/>
              <a:gd name="connsiteY138" fmla="*/ 2727179 h 3047524"/>
              <a:gd name="connsiteX139" fmla="*/ 1034175 w 2349032"/>
              <a:gd name="connsiteY139" fmla="*/ 2821001 h 3047524"/>
              <a:gd name="connsiteX140" fmla="*/ 1012173 w 2349032"/>
              <a:gd name="connsiteY140" fmla="*/ 2956256 h 3047524"/>
              <a:gd name="connsiteX141" fmla="*/ 1336880 w 2349032"/>
              <a:gd name="connsiteY141" fmla="*/ 2946540 h 3047524"/>
              <a:gd name="connsiteX142" fmla="*/ 1439464 w 2349032"/>
              <a:gd name="connsiteY142" fmla="*/ 2644979 h 3047524"/>
              <a:gd name="connsiteX143" fmla="*/ 529827 w 2349032"/>
              <a:gd name="connsiteY143" fmla="*/ 2942635 h 3047524"/>
              <a:gd name="connsiteX144" fmla="*/ 627267 w 2349032"/>
              <a:gd name="connsiteY144" fmla="*/ 2643169 h 3047524"/>
              <a:gd name="connsiteX145" fmla="*/ 566784 w 2349032"/>
              <a:gd name="connsiteY145" fmla="*/ 2628977 h 3047524"/>
              <a:gd name="connsiteX146" fmla="*/ 404382 w 2349032"/>
              <a:gd name="connsiteY146" fmla="*/ 2519153 h 3047524"/>
              <a:gd name="connsiteX147" fmla="*/ 371902 w 2349032"/>
              <a:gd name="connsiteY147" fmla="*/ 2456193 h 3047524"/>
              <a:gd name="connsiteX148" fmla="*/ 277890 w 2349032"/>
              <a:gd name="connsiteY148" fmla="*/ 2600211 h 3047524"/>
              <a:gd name="connsiteX149" fmla="*/ 103488 w 2349032"/>
              <a:gd name="connsiteY149" fmla="*/ 2644217 h 3047524"/>
              <a:gd name="connsiteX150" fmla="*/ 209120 w 2349032"/>
              <a:gd name="connsiteY150" fmla="*/ 2944254 h 3047524"/>
              <a:gd name="connsiteX151" fmla="*/ 529827 w 2349032"/>
              <a:gd name="connsiteY151" fmla="*/ 2942635 h 3047524"/>
              <a:gd name="connsiteX152" fmla="*/ 2139266 w 2349032"/>
              <a:gd name="connsiteY152" fmla="*/ 2942825 h 3047524"/>
              <a:gd name="connsiteX153" fmla="*/ 2238421 w 2349032"/>
              <a:gd name="connsiteY153" fmla="*/ 2638216 h 3047524"/>
              <a:gd name="connsiteX154" fmla="*/ 1986390 w 2349032"/>
              <a:gd name="connsiteY154" fmla="*/ 2445716 h 3047524"/>
              <a:gd name="connsiteX155" fmla="*/ 1890378 w 2349032"/>
              <a:gd name="connsiteY155" fmla="*/ 2597544 h 3047524"/>
              <a:gd name="connsiteX156" fmla="*/ 1712451 w 2349032"/>
              <a:gd name="connsiteY156" fmla="*/ 2645169 h 3047524"/>
              <a:gd name="connsiteX157" fmla="*/ 1819035 w 2349032"/>
              <a:gd name="connsiteY157" fmla="*/ 2943968 h 3047524"/>
              <a:gd name="connsiteX158" fmla="*/ 2139266 w 2349032"/>
              <a:gd name="connsiteY158" fmla="*/ 2942825 h 3047524"/>
              <a:gd name="connsiteX159" fmla="*/ 1174193 w 2349032"/>
              <a:gd name="connsiteY159" fmla="*/ 1784585 h 3047524"/>
              <a:gd name="connsiteX160" fmla="*/ 1316687 w 2349032"/>
              <a:gd name="connsiteY160" fmla="*/ 1611135 h 3047524"/>
              <a:gd name="connsiteX161" fmla="*/ 1354025 w 2349032"/>
              <a:gd name="connsiteY161" fmla="*/ 1459307 h 3047524"/>
              <a:gd name="connsiteX162" fmla="*/ 984455 w 2349032"/>
              <a:gd name="connsiteY162" fmla="*/ 1459973 h 3047524"/>
              <a:gd name="connsiteX163" fmla="*/ 1004838 w 2349032"/>
              <a:gd name="connsiteY163" fmla="*/ 1571987 h 3047524"/>
              <a:gd name="connsiteX164" fmla="*/ 1174193 w 2349032"/>
              <a:gd name="connsiteY164" fmla="*/ 1784585 h 3047524"/>
              <a:gd name="connsiteX165" fmla="*/ 1416604 w 2349032"/>
              <a:gd name="connsiteY165" fmla="*/ 1973657 h 3047524"/>
              <a:gd name="connsiteX166" fmla="*/ 1561289 w 2349032"/>
              <a:gd name="connsiteY166" fmla="*/ 1682192 h 3047524"/>
              <a:gd name="connsiteX167" fmla="*/ 1418985 w 2349032"/>
              <a:gd name="connsiteY167" fmla="*/ 1626470 h 3047524"/>
              <a:gd name="connsiteX168" fmla="*/ 1240011 w 2349032"/>
              <a:gd name="connsiteY168" fmla="*/ 1847450 h 3047524"/>
              <a:gd name="connsiteX169" fmla="*/ 1416604 w 2349032"/>
              <a:gd name="connsiteY169" fmla="*/ 1973657 h 3047524"/>
              <a:gd name="connsiteX170" fmla="*/ 1107518 w 2349032"/>
              <a:gd name="connsiteY170" fmla="*/ 1847069 h 3047524"/>
              <a:gd name="connsiteX171" fmla="*/ 943878 w 2349032"/>
              <a:gd name="connsiteY171" fmla="*/ 1645139 h 3047524"/>
              <a:gd name="connsiteX172" fmla="*/ 917685 w 2349032"/>
              <a:gd name="connsiteY172" fmla="*/ 1631709 h 3047524"/>
              <a:gd name="connsiteX173" fmla="*/ 787097 w 2349032"/>
              <a:gd name="connsiteY173" fmla="*/ 1683525 h 3047524"/>
              <a:gd name="connsiteX174" fmla="*/ 932163 w 2349032"/>
              <a:gd name="connsiteY174" fmla="*/ 1973085 h 3047524"/>
              <a:gd name="connsiteX175" fmla="*/ 1072561 w 2349032"/>
              <a:gd name="connsiteY175" fmla="*/ 1873835 h 3047524"/>
              <a:gd name="connsiteX176" fmla="*/ 1107518 w 2349032"/>
              <a:gd name="connsiteY176" fmla="*/ 1847069 h 3047524"/>
              <a:gd name="connsiteX177" fmla="*/ 1078562 w 2349032"/>
              <a:gd name="connsiteY177" fmla="*/ 2415998 h 3047524"/>
              <a:gd name="connsiteX178" fmla="*/ 1272205 w 2349032"/>
              <a:gd name="connsiteY178" fmla="*/ 2429428 h 3047524"/>
              <a:gd name="connsiteX179" fmla="*/ 1222104 w 2349032"/>
              <a:gd name="connsiteY179" fmla="*/ 2136153 h 3047524"/>
              <a:gd name="connsiteX180" fmla="*/ 1126473 w 2349032"/>
              <a:gd name="connsiteY180" fmla="*/ 2136153 h 3047524"/>
              <a:gd name="connsiteX181" fmla="*/ 1078562 w 2349032"/>
              <a:gd name="connsiteY181" fmla="*/ 2415998 h 3047524"/>
              <a:gd name="connsiteX182" fmla="*/ 1627678 w 2349032"/>
              <a:gd name="connsiteY182" fmla="*/ 1008488 h 3047524"/>
              <a:gd name="connsiteX183" fmla="*/ 1725024 w 2349032"/>
              <a:gd name="connsiteY183" fmla="*/ 891807 h 3047524"/>
              <a:gd name="connsiteX184" fmla="*/ 1627678 w 2349032"/>
              <a:gd name="connsiteY184" fmla="*/ 793319 h 3047524"/>
              <a:gd name="connsiteX185" fmla="*/ 1627678 w 2349032"/>
              <a:gd name="connsiteY185" fmla="*/ 1008488 h 3047524"/>
              <a:gd name="connsiteX186" fmla="*/ 710325 w 2349032"/>
              <a:gd name="connsiteY186" fmla="*/ 794652 h 3047524"/>
              <a:gd name="connsiteX187" fmla="*/ 612694 w 2349032"/>
              <a:gd name="connsiteY187" fmla="*/ 905237 h 3047524"/>
              <a:gd name="connsiteX188" fmla="*/ 710325 w 2349032"/>
              <a:gd name="connsiteY188" fmla="*/ 1005440 h 3047524"/>
              <a:gd name="connsiteX189" fmla="*/ 710325 w 2349032"/>
              <a:gd name="connsiteY189" fmla="*/ 794652 h 3047524"/>
              <a:gd name="connsiteX190" fmla="*/ 1077038 w 2349032"/>
              <a:gd name="connsiteY190" fmla="*/ 1982039 h 3047524"/>
              <a:gd name="connsiteX191" fmla="*/ 1206102 w 2349032"/>
              <a:gd name="connsiteY191" fmla="*/ 2044999 h 3047524"/>
              <a:gd name="connsiteX192" fmla="*/ 1274491 w 2349032"/>
              <a:gd name="connsiteY192" fmla="*/ 1983944 h 3047524"/>
              <a:gd name="connsiteX193" fmla="*/ 1173907 w 2349032"/>
              <a:gd name="connsiteY193" fmla="*/ 1912887 h 3047524"/>
              <a:gd name="connsiteX194" fmla="*/ 1077038 w 2349032"/>
              <a:gd name="connsiteY194" fmla="*/ 1982039 h 304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2349032" h="3047524">
                <a:moveTo>
                  <a:pt x="897777" y="1539221"/>
                </a:moveTo>
                <a:cubicBezTo>
                  <a:pt x="897777" y="1505503"/>
                  <a:pt x="900159" y="1472070"/>
                  <a:pt x="896730" y="1439114"/>
                </a:cubicBezTo>
                <a:cubicBezTo>
                  <a:pt x="895015" y="1422445"/>
                  <a:pt x="886919" y="1402157"/>
                  <a:pt x="874727" y="1391489"/>
                </a:cubicBezTo>
                <a:cubicBezTo>
                  <a:pt x="795574" y="1322242"/>
                  <a:pt x="744901" y="1237469"/>
                  <a:pt x="721279" y="1134885"/>
                </a:cubicBezTo>
                <a:cubicBezTo>
                  <a:pt x="717850" y="1119931"/>
                  <a:pt x="698800" y="1101643"/>
                  <a:pt x="683560" y="1097357"/>
                </a:cubicBezTo>
                <a:cubicBezTo>
                  <a:pt x="538494" y="1056875"/>
                  <a:pt x="481440" y="914762"/>
                  <a:pt x="559354" y="787032"/>
                </a:cubicBezTo>
                <a:cubicBezTo>
                  <a:pt x="569260" y="770840"/>
                  <a:pt x="572118" y="748837"/>
                  <a:pt x="573546" y="729215"/>
                </a:cubicBezTo>
                <a:cubicBezTo>
                  <a:pt x="580785" y="631489"/>
                  <a:pt x="572308" y="530238"/>
                  <a:pt x="595549" y="436607"/>
                </a:cubicBezTo>
                <a:cubicBezTo>
                  <a:pt x="652699" y="206388"/>
                  <a:pt x="805861" y="63894"/>
                  <a:pt x="1035890" y="4553"/>
                </a:cubicBezTo>
                <a:cubicBezTo>
                  <a:pt x="1067037" y="-3448"/>
                  <a:pt x="1095421" y="-4114"/>
                  <a:pt x="1105518" y="31414"/>
                </a:cubicBezTo>
                <a:cubicBezTo>
                  <a:pt x="1116757" y="70752"/>
                  <a:pt x="1088182" y="84087"/>
                  <a:pt x="1056369" y="92374"/>
                </a:cubicBezTo>
                <a:cubicBezTo>
                  <a:pt x="852057" y="145714"/>
                  <a:pt x="722422" y="274778"/>
                  <a:pt x="676035" y="480422"/>
                </a:cubicBezTo>
                <a:cubicBezTo>
                  <a:pt x="659938" y="552050"/>
                  <a:pt x="661748" y="627679"/>
                  <a:pt x="655366" y="701498"/>
                </a:cubicBezTo>
                <a:cubicBezTo>
                  <a:pt x="660795" y="705117"/>
                  <a:pt x="666225" y="708737"/>
                  <a:pt x="671749" y="712356"/>
                </a:cubicBezTo>
                <a:cubicBezTo>
                  <a:pt x="689751" y="699307"/>
                  <a:pt x="706801" y="684638"/>
                  <a:pt x="725946" y="673589"/>
                </a:cubicBezTo>
                <a:cubicBezTo>
                  <a:pt x="750616" y="659302"/>
                  <a:pt x="777191" y="636442"/>
                  <a:pt x="802527" y="636918"/>
                </a:cubicBezTo>
                <a:cubicBezTo>
                  <a:pt x="1002838" y="640252"/>
                  <a:pt x="1188099" y="592722"/>
                  <a:pt x="1358692" y="486804"/>
                </a:cubicBezTo>
                <a:cubicBezTo>
                  <a:pt x="1409842" y="455086"/>
                  <a:pt x="1441655" y="458991"/>
                  <a:pt x="1481469" y="502520"/>
                </a:cubicBezTo>
                <a:cubicBezTo>
                  <a:pt x="1530428" y="556051"/>
                  <a:pt x="1575672" y="612915"/>
                  <a:pt x="1622630" y="668255"/>
                </a:cubicBezTo>
                <a:cubicBezTo>
                  <a:pt x="1634536" y="682257"/>
                  <a:pt x="1646633" y="696068"/>
                  <a:pt x="1665302" y="717690"/>
                </a:cubicBezTo>
                <a:cubicBezTo>
                  <a:pt x="1714546" y="425558"/>
                  <a:pt x="1569766" y="185243"/>
                  <a:pt x="1324307" y="103899"/>
                </a:cubicBezTo>
                <a:cubicBezTo>
                  <a:pt x="1307829" y="98470"/>
                  <a:pt x="1290874" y="94184"/>
                  <a:pt x="1273920" y="89993"/>
                </a:cubicBezTo>
                <a:cubicBezTo>
                  <a:pt x="1243821" y="82563"/>
                  <a:pt x="1223342" y="65894"/>
                  <a:pt x="1231914" y="32938"/>
                </a:cubicBezTo>
                <a:cubicBezTo>
                  <a:pt x="1240392" y="458"/>
                  <a:pt x="1265728" y="-4114"/>
                  <a:pt x="1296113" y="2744"/>
                </a:cubicBezTo>
                <a:cubicBezTo>
                  <a:pt x="1448037" y="37415"/>
                  <a:pt x="1569385" y="117901"/>
                  <a:pt x="1658634" y="245441"/>
                </a:cubicBezTo>
                <a:cubicBezTo>
                  <a:pt x="1729596" y="346882"/>
                  <a:pt x="1764362" y="460515"/>
                  <a:pt x="1765696" y="584340"/>
                </a:cubicBezTo>
                <a:cubicBezTo>
                  <a:pt x="1766076" y="619297"/>
                  <a:pt x="1767029" y="654254"/>
                  <a:pt x="1765505" y="689115"/>
                </a:cubicBezTo>
                <a:cubicBezTo>
                  <a:pt x="1763600" y="732454"/>
                  <a:pt x="1771410" y="770744"/>
                  <a:pt x="1792747" y="810940"/>
                </a:cubicBezTo>
                <a:cubicBezTo>
                  <a:pt x="1852468" y="923716"/>
                  <a:pt x="1789794" y="1061066"/>
                  <a:pt x="1665302" y="1092880"/>
                </a:cubicBezTo>
                <a:cubicBezTo>
                  <a:pt x="1629869" y="1101929"/>
                  <a:pt x="1618248" y="1117645"/>
                  <a:pt x="1611009" y="1151554"/>
                </a:cubicBezTo>
                <a:cubicBezTo>
                  <a:pt x="1591674" y="1242518"/>
                  <a:pt x="1545001" y="1320051"/>
                  <a:pt x="1473945" y="1379868"/>
                </a:cubicBezTo>
                <a:cubicBezTo>
                  <a:pt x="1436321" y="1411586"/>
                  <a:pt x="1457562" y="1450353"/>
                  <a:pt x="1450513" y="1485596"/>
                </a:cubicBezTo>
                <a:cubicBezTo>
                  <a:pt x="1441084" y="1533125"/>
                  <a:pt x="1466420" y="1549508"/>
                  <a:pt x="1507473" y="1564653"/>
                </a:cubicBezTo>
                <a:cubicBezTo>
                  <a:pt x="1675113" y="1626661"/>
                  <a:pt x="1841419" y="1692383"/>
                  <a:pt x="2007821" y="1757630"/>
                </a:cubicBezTo>
                <a:cubicBezTo>
                  <a:pt x="2180986" y="1825543"/>
                  <a:pt x="2286332" y="1981086"/>
                  <a:pt x="2283856" y="2163109"/>
                </a:cubicBezTo>
                <a:cubicBezTo>
                  <a:pt x="2283475" y="2194065"/>
                  <a:pt x="2277093" y="2222640"/>
                  <a:pt x="2238136" y="2221688"/>
                </a:cubicBezTo>
                <a:cubicBezTo>
                  <a:pt x="2203465" y="2220830"/>
                  <a:pt x="2194606" y="2196161"/>
                  <a:pt x="2194130" y="2165681"/>
                </a:cubicBezTo>
                <a:cubicBezTo>
                  <a:pt x="2191558" y="1997945"/>
                  <a:pt x="2105833" y="1890789"/>
                  <a:pt x="1951814" y="1832687"/>
                </a:cubicBezTo>
                <a:cubicBezTo>
                  <a:pt x="1851230" y="1794777"/>
                  <a:pt x="1751313" y="1755248"/>
                  <a:pt x="1646823" y="1714767"/>
                </a:cubicBezTo>
                <a:cubicBezTo>
                  <a:pt x="1600151" y="1808017"/>
                  <a:pt x="1554240" y="1899552"/>
                  <a:pt x="1508616" y="1991183"/>
                </a:cubicBezTo>
                <a:cubicBezTo>
                  <a:pt x="1466230" y="2076241"/>
                  <a:pt x="1433749" y="2086623"/>
                  <a:pt x="1351739" y="2041189"/>
                </a:cubicBezTo>
                <a:cubicBezTo>
                  <a:pt x="1314020" y="2073002"/>
                  <a:pt x="1306876" y="2110912"/>
                  <a:pt x="1316592" y="2159585"/>
                </a:cubicBezTo>
                <a:cubicBezTo>
                  <a:pt x="1339166" y="2272837"/>
                  <a:pt x="1356406" y="2387232"/>
                  <a:pt x="1374504" y="2501342"/>
                </a:cubicBezTo>
                <a:cubicBezTo>
                  <a:pt x="1378885" y="2528869"/>
                  <a:pt x="1388505" y="2546300"/>
                  <a:pt x="1419271" y="2543823"/>
                </a:cubicBezTo>
                <a:cubicBezTo>
                  <a:pt x="1420795" y="2543728"/>
                  <a:pt x="1422414" y="2543918"/>
                  <a:pt x="1424034" y="2544204"/>
                </a:cubicBezTo>
                <a:cubicBezTo>
                  <a:pt x="1469849" y="2552491"/>
                  <a:pt x="1523094" y="2548109"/>
                  <a:pt x="1541191" y="2606783"/>
                </a:cubicBezTo>
                <a:cubicBezTo>
                  <a:pt x="1557288" y="2659076"/>
                  <a:pt x="1514807" y="2683079"/>
                  <a:pt x="1486899" y="2713845"/>
                </a:cubicBezTo>
                <a:cubicBezTo>
                  <a:pt x="1482993" y="2718226"/>
                  <a:pt x="1479184" y="2722703"/>
                  <a:pt x="1471087" y="2732132"/>
                </a:cubicBezTo>
                <a:cubicBezTo>
                  <a:pt x="1542620" y="2732132"/>
                  <a:pt x="1607866" y="2732132"/>
                  <a:pt x="1673113" y="2732132"/>
                </a:cubicBezTo>
                <a:cubicBezTo>
                  <a:pt x="1676732" y="2728608"/>
                  <a:pt x="1680256" y="2725084"/>
                  <a:pt x="1683876" y="2721560"/>
                </a:cubicBezTo>
                <a:cubicBezTo>
                  <a:pt x="1668159" y="2709653"/>
                  <a:pt x="1646443" y="2700986"/>
                  <a:pt x="1638156" y="2685270"/>
                </a:cubicBezTo>
                <a:cubicBezTo>
                  <a:pt x="1625011" y="2660409"/>
                  <a:pt x="1609009" y="2626976"/>
                  <a:pt x="1616343" y="2604402"/>
                </a:cubicBezTo>
                <a:cubicBezTo>
                  <a:pt x="1623582" y="2582209"/>
                  <a:pt x="1655968" y="2561635"/>
                  <a:pt x="1681590" y="2553348"/>
                </a:cubicBezTo>
                <a:cubicBezTo>
                  <a:pt x="1721595" y="2540394"/>
                  <a:pt x="1765219" y="2538489"/>
                  <a:pt x="1812273" y="2531060"/>
                </a:cubicBezTo>
                <a:cubicBezTo>
                  <a:pt x="1812273" y="2437810"/>
                  <a:pt x="1810558" y="2346084"/>
                  <a:pt x="1813797" y="2254454"/>
                </a:cubicBezTo>
                <a:cubicBezTo>
                  <a:pt x="1814368" y="2236928"/>
                  <a:pt x="1831323" y="2215592"/>
                  <a:pt x="1846848" y="2204733"/>
                </a:cubicBezTo>
                <a:cubicBezTo>
                  <a:pt x="1854373" y="2199494"/>
                  <a:pt x="1878567" y="2211591"/>
                  <a:pt x="1890378" y="2221592"/>
                </a:cubicBezTo>
                <a:cubicBezTo>
                  <a:pt x="1897807" y="2227879"/>
                  <a:pt x="1898379" y="2244738"/>
                  <a:pt x="1898569" y="2256930"/>
                </a:cubicBezTo>
                <a:cubicBezTo>
                  <a:pt x="1899522" y="2298173"/>
                  <a:pt x="1898950" y="2339321"/>
                  <a:pt x="1898950" y="2388947"/>
                </a:cubicBezTo>
                <a:cubicBezTo>
                  <a:pt x="1909523" y="2377707"/>
                  <a:pt x="1915047" y="2371611"/>
                  <a:pt x="1920667" y="2365706"/>
                </a:cubicBezTo>
                <a:cubicBezTo>
                  <a:pt x="1959815" y="2324843"/>
                  <a:pt x="2015536" y="2329701"/>
                  <a:pt x="2044206" y="2378279"/>
                </a:cubicBezTo>
                <a:cubicBezTo>
                  <a:pt x="2062685" y="2409521"/>
                  <a:pt x="2080592" y="2441906"/>
                  <a:pt x="2092689" y="2475910"/>
                </a:cubicBezTo>
                <a:cubicBezTo>
                  <a:pt x="2109929" y="2524392"/>
                  <a:pt x="2140504" y="2542680"/>
                  <a:pt x="2194321" y="2531345"/>
                </a:cubicBezTo>
                <a:cubicBezTo>
                  <a:pt x="2194321" y="2489721"/>
                  <a:pt x="2194511" y="2447145"/>
                  <a:pt x="2194225" y="2404472"/>
                </a:cubicBezTo>
                <a:cubicBezTo>
                  <a:pt x="2194035" y="2372564"/>
                  <a:pt x="2203084" y="2344751"/>
                  <a:pt x="2239279" y="2343989"/>
                </a:cubicBezTo>
                <a:cubicBezTo>
                  <a:pt x="2277474" y="2343227"/>
                  <a:pt x="2283094" y="2374088"/>
                  <a:pt x="2283951" y="2404282"/>
                </a:cubicBezTo>
                <a:cubicBezTo>
                  <a:pt x="2284808" y="2431238"/>
                  <a:pt x="2284522" y="2458289"/>
                  <a:pt x="2284236" y="2485245"/>
                </a:cubicBezTo>
                <a:cubicBezTo>
                  <a:pt x="2283856" y="2519725"/>
                  <a:pt x="2280141" y="2550681"/>
                  <a:pt x="2321670" y="2572493"/>
                </a:cubicBezTo>
                <a:cubicBezTo>
                  <a:pt x="2358532" y="2591829"/>
                  <a:pt x="2356817" y="2645931"/>
                  <a:pt x="2324527" y="2680983"/>
                </a:cubicBezTo>
                <a:cubicBezTo>
                  <a:pt x="2297667" y="2710130"/>
                  <a:pt x="2269568" y="2738514"/>
                  <a:pt x="2239088" y="2763755"/>
                </a:cubicBezTo>
                <a:cubicBezTo>
                  <a:pt x="2213752" y="2784710"/>
                  <a:pt x="2207656" y="2807856"/>
                  <a:pt x="2213275" y="2838622"/>
                </a:cubicBezTo>
                <a:cubicBezTo>
                  <a:pt x="2221276" y="2882151"/>
                  <a:pt x="2229849" y="2926062"/>
                  <a:pt x="2232135" y="2970162"/>
                </a:cubicBezTo>
                <a:cubicBezTo>
                  <a:pt x="2235278" y="3029979"/>
                  <a:pt x="2184986" y="3063888"/>
                  <a:pt x="2130027" y="3039599"/>
                </a:cubicBezTo>
                <a:cubicBezTo>
                  <a:pt x="2078115" y="3016739"/>
                  <a:pt x="2028300" y="2970067"/>
                  <a:pt x="1977246" y="2969591"/>
                </a:cubicBezTo>
                <a:cubicBezTo>
                  <a:pt x="1928192" y="2969114"/>
                  <a:pt x="1879614" y="3016549"/>
                  <a:pt x="1829132" y="3039123"/>
                </a:cubicBezTo>
                <a:cubicBezTo>
                  <a:pt x="1771125" y="3065031"/>
                  <a:pt x="1718451" y="3026455"/>
                  <a:pt x="1723976" y="2962542"/>
                </a:cubicBezTo>
                <a:cubicBezTo>
                  <a:pt x="1727596" y="2920156"/>
                  <a:pt x="1736644" y="2878151"/>
                  <a:pt x="1743979" y="2831859"/>
                </a:cubicBezTo>
                <a:cubicBezTo>
                  <a:pt x="1633203" y="2831859"/>
                  <a:pt x="1523665" y="2831859"/>
                  <a:pt x="1409460" y="2831859"/>
                </a:cubicBezTo>
                <a:cubicBezTo>
                  <a:pt x="1415747" y="2870245"/>
                  <a:pt x="1426510" y="2907392"/>
                  <a:pt x="1426225" y="2944349"/>
                </a:cubicBezTo>
                <a:cubicBezTo>
                  <a:pt x="1426034" y="2973305"/>
                  <a:pt x="1420509" y="3012548"/>
                  <a:pt x="1401650" y="3027979"/>
                </a:cubicBezTo>
                <a:cubicBezTo>
                  <a:pt x="1382981" y="3043314"/>
                  <a:pt x="1334689" y="3047696"/>
                  <a:pt x="1316497" y="3033980"/>
                </a:cubicBezTo>
                <a:cubicBezTo>
                  <a:pt x="1218580" y="2960351"/>
                  <a:pt x="1127806" y="2962256"/>
                  <a:pt x="1030651" y="3034932"/>
                </a:cubicBezTo>
                <a:cubicBezTo>
                  <a:pt x="1013030" y="3048172"/>
                  <a:pt x="966167" y="3044838"/>
                  <a:pt x="949022" y="3030265"/>
                </a:cubicBezTo>
                <a:cubicBezTo>
                  <a:pt x="929686" y="3013787"/>
                  <a:pt x="921971" y="2975972"/>
                  <a:pt x="921495" y="2947207"/>
                </a:cubicBezTo>
                <a:cubicBezTo>
                  <a:pt x="920923" y="2909964"/>
                  <a:pt x="932544" y="2872626"/>
                  <a:pt x="939592" y="2831288"/>
                </a:cubicBezTo>
                <a:cubicBezTo>
                  <a:pt x="826054" y="2831288"/>
                  <a:pt x="716136" y="2831288"/>
                  <a:pt x="604598" y="2831288"/>
                </a:cubicBezTo>
                <a:cubicBezTo>
                  <a:pt x="611551" y="2875007"/>
                  <a:pt x="620124" y="2916917"/>
                  <a:pt x="624315" y="2959304"/>
                </a:cubicBezTo>
                <a:cubicBezTo>
                  <a:pt x="631077" y="3027598"/>
                  <a:pt x="575547" y="3066460"/>
                  <a:pt x="513158" y="3037123"/>
                </a:cubicBezTo>
                <a:cubicBezTo>
                  <a:pt x="464485" y="3014263"/>
                  <a:pt x="417336" y="2969019"/>
                  <a:pt x="369521" y="2969019"/>
                </a:cubicBezTo>
                <a:cubicBezTo>
                  <a:pt x="321705" y="2969019"/>
                  <a:pt x="274557" y="3014168"/>
                  <a:pt x="225884" y="3037123"/>
                </a:cubicBezTo>
                <a:cubicBezTo>
                  <a:pt x="164162" y="3066174"/>
                  <a:pt x="112251" y="3031789"/>
                  <a:pt x="116442" y="2963590"/>
                </a:cubicBezTo>
                <a:cubicBezTo>
                  <a:pt x="119299" y="2917965"/>
                  <a:pt x="131682" y="2872817"/>
                  <a:pt x="134158" y="2827192"/>
                </a:cubicBezTo>
                <a:cubicBezTo>
                  <a:pt x="135206" y="2808428"/>
                  <a:pt x="125681" y="2785282"/>
                  <a:pt x="113394" y="2770518"/>
                </a:cubicBezTo>
                <a:cubicBezTo>
                  <a:pt x="89200" y="2741372"/>
                  <a:pt x="59101" y="2717178"/>
                  <a:pt x="32526" y="2689937"/>
                </a:cubicBezTo>
                <a:cubicBezTo>
                  <a:pt x="-14718" y="2641645"/>
                  <a:pt x="-9765" y="2599259"/>
                  <a:pt x="42623" y="2558682"/>
                </a:cubicBezTo>
                <a:cubicBezTo>
                  <a:pt x="54624" y="2549348"/>
                  <a:pt x="62911" y="2528012"/>
                  <a:pt x="63197" y="2512010"/>
                </a:cubicBezTo>
                <a:cubicBezTo>
                  <a:pt x="65864" y="2385041"/>
                  <a:pt x="62816" y="2257883"/>
                  <a:pt x="67864" y="2131105"/>
                </a:cubicBezTo>
                <a:cubicBezTo>
                  <a:pt x="75389" y="1943367"/>
                  <a:pt x="180450" y="1822971"/>
                  <a:pt x="348280" y="1754677"/>
                </a:cubicBezTo>
                <a:cubicBezTo>
                  <a:pt x="515253" y="1686764"/>
                  <a:pt x="684608" y="1624565"/>
                  <a:pt x="852819" y="1559605"/>
                </a:cubicBezTo>
                <a:cubicBezTo>
                  <a:pt x="867774" y="1554271"/>
                  <a:pt x="881680" y="1546746"/>
                  <a:pt x="897777" y="1539221"/>
                </a:cubicBezTo>
                <a:close/>
                <a:moveTo>
                  <a:pt x="701467" y="1714577"/>
                </a:moveTo>
                <a:cubicBezTo>
                  <a:pt x="579928" y="1761916"/>
                  <a:pt x="461437" y="1802683"/>
                  <a:pt x="347804" y="1854023"/>
                </a:cubicBezTo>
                <a:cubicBezTo>
                  <a:pt x="249220" y="1898600"/>
                  <a:pt x="173592" y="1976514"/>
                  <a:pt x="165686" y="2087195"/>
                </a:cubicBezTo>
                <a:cubicBezTo>
                  <a:pt x="155113" y="2235023"/>
                  <a:pt x="163114" y="2384279"/>
                  <a:pt x="163114" y="2532965"/>
                </a:cubicBezTo>
                <a:cubicBezTo>
                  <a:pt x="226360" y="2534012"/>
                  <a:pt x="226265" y="2534012"/>
                  <a:pt x="255507" y="2475338"/>
                </a:cubicBezTo>
                <a:cubicBezTo>
                  <a:pt x="271699" y="2442763"/>
                  <a:pt x="286368" y="2409235"/>
                  <a:pt x="304846" y="2377993"/>
                </a:cubicBezTo>
                <a:cubicBezTo>
                  <a:pt x="332278" y="2331416"/>
                  <a:pt x="387618" y="2325034"/>
                  <a:pt x="424861" y="2363039"/>
                </a:cubicBezTo>
                <a:cubicBezTo>
                  <a:pt x="431624" y="2369897"/>
                  <a:pt x="434196" y="2380850"/>
                  <a:pt x="438672" y="2389994"/>
                </a:cubicBezTo>
                <a:cubicBezTo>
                  <a:pt x="449912" y="2335892"/>
                  <a:pt x="445816" y="2290839"/>
                  <a:pt x="451912" y="2247310"/>
                </a:cubicBezTo>
                <a:cubicBezTo>
                  <a:pt x="454293" y="2230260"/>
                  <a:pt x="479630" y="2216449"/>
                  <a:pt x="494394" y="2201114"/>
                </a:cubicBezTo>
                <a:cubicBezTo>
                  <a:pt x="508300" y="2215877"/>
                  <a:pt x="525826" y="2228831"/>
                  <a:pt x="534780" y="2246167"/>
                </a:cubicBezTo>
                <a:cubicBezTo>
                  <a:pt x="541257" y="2258740"/>
                  <a:pt x="536494" y="2277314"/>
                  <a:pt x="536494" y="2293125"/>
                </a:cubicBezTo>
                <a:cubicBezTo>
                  <a:pt x="536494" y="2372183"/>
                  <a:pt x="536494" y="2451145"/>
                  <a:pt x="536494" y="2530964"/>
                </a:cubicBezTo>
                <a:cubicBezTo>
                  <a:pt x="582309" y="2538299"/>
                  <a:pt x="624219" y="2540585"/>
                  <a:pt x="662986" y="2552777"/>
                </a:cubicBezTo>
                <a:cubicBezTo>
                  <a:pt x="689085" y="2561063"/>
                  <a:pt x="719469" y="2578304"/>
                  <a:pt x="732423" y="2600592"/>
                </a:cubicBezTo>
                <a:cubicBezTo>
                  <a:pt x="750140" y="2631072"/>
                  <a:pt x="735757" y="2664886"/>
                  <a:pt x="708135" y="2689746"/>
                </a:cubicBezTo>
                <a:cubicBezTo>
                  <a:pt x="694895" y="2701653"/>
                  <a:pt x="683179" y="2715178"/>
                  <a:pt x="666796" y="2732037"/>
                </a:cubicBezTo>
                <a:cubicBezTo>
                  <a:pt x="740996" y="2732037"/>
                  <a:pt x="806242" y="2732037"/>
                  <a:pt x="875013" y="2732037"/>
                </a:cubicBezTo>
                <a:cubicBezTo>
                  <a:pt x="869679" y="2724322"/>
                  <a:pt x="867488" y="2720417"/>
                  <a:pt x="864630" y="2717083"/>
                </a:cubicBezTo>
                <a:cubicBezTo>
                  <a:pt x="836722" y="2684698"/>
                  <a:pt x="790526" y="2661076"/>
                  <a:pt x="807957" y="2606403"/>
                </a:cubicBezTo>
                <a:cubicBezTo>
                  <a:pt x="827388" y="2545442"/>
                  <a:pt x="882823" y="2549919"/>
                  <a:pt x="930162" y="2544871"/>
                </a:cubicBezTo>
                <a:cubicBezTo>
                  <a:pt x="957690" y="2541918"/>
                  <a:pt x="969405" y="2530964"/>
                  <a:pt x="973501" y="2505342"/>
                </a:cubicBezTo>
                <a:cubicBezTo>
                  <a:pt x="992456" y="2388185"/>
                  <a:pt x="1009315" y="2270551"/>
                  <a:pt x="1032556" y="2154155"/>
                </a:cubicBezTo>
                <a:cubicBezTo>
                  <a:pt x="1042176" y="2106054"/>
                  <a:pt x="1030842" y="2071859"/>
                  <a:pt x="996647" y="2041284"/>
                </a:cubicBezTo>
                <a:cubicBezTo>
                  <a:pt x="914732" y="2086718"/>
                  <a:pt x="881871" y="2075955"/>
                  <a:pt x="839294" y="1990611"/>
                </a:cubicBezTo>
                <a:cubicBezTo>
                  <a:pt x="794145" y="1900028"/>
                  <a:pt x="748902" y="1809541"/>
                  <a:pt x="701467" y="1714577"/>
                </a:cubicBezTo>
                <a:close/>
                <a:moveTo>
                  <a:pt x="802908" y="723119"/>
                </a:moveTo>
                <a:cubicBezTo>
                  <a:pt x="802908" y="833514"/>
                  <a:pt x="802527" y="936575"/>
                  <a:pt x="803004" y="1039540"/>
                </a:cubicBezTo>
                <a:cubicBezTo>
                  <a:pt x="803956" y="1246328"/>
                  <a:pt x="964452" y="1404538"/>
                  <a:pt x="1173431" y="1405014"/>
                </a:cubicBezTo>
                <a:cubicBezTo>
                  <a:pt x="1372122" y="1405490"/>
                  <a:pt x="1531285" y="1248423"/>
                  <a:pt x="1534809" y="1046207"/>
                </a:cubicBezTo>
                <a:cubicBezTo>
                  <a:pt x="1536714" y="938289"/>
                  <a:pt x="1535667" y="830276"/>
                  <a:pt x="1534714" y="722357"/>
                </a:cubicBezTo>
                <a:cubicBezTo>
                  <a:pt x="1534619" y="707594"/>
                  <a:pt x="1530904" y="689306"/>
                  <a:pt x="1521855" y="678828"/>
                </a:cubicBezTo>
                <a:cubicBezTo>
                  <a:pt x="1486804" y="638347"/>
                  <a:pt x="1448894" y="600342"/>
                  <a:pt x="1411270" y="560623"/>
                </a:cubicBezTo>
                <a:cubicBezTo>
                  <a:pt x="1224866" y="675399"/>
                  <a:pt x="1025984" y="733978"/>
                  <a:pt x="802908" y="723119"/>
                </a:cubicBezTo>
                <a:close/>
                <a:moveTo>
                  <a:pt x="1439464" y="2644979"/>
                </a:moveTo>
                <a:cubicBezTo>
                  <a:pt x="1368217" y="2627643"/>
                  <a:pt x="1303733" y="2627834"/>
                  <a:pt x="1261728" y="2597163"/>
                </a:cubicBezTo>
                <a:cubicBezTo>
                  <a:pt x="1220580" y="2567064"/>
                  <a:pt x="1202387" y="2505628"/>
                  <a:pt x="1165811" y="2443906"/>
                </a:cubicBezTo>
                <a:cubicBezTo>
                  <a:pt x="1139712" y="2590400"/>
                  <a:pt x="1051606" y="2643074"/>
                  <a:pt x="906731" y="2630310"/>
                </a:cubicBezTo>
                <a:cubicBezTo>
                  <a:pt x="948641" y="2671934"/>
                  <a:pt x="976168" y="2699938"/>
                  <a:pt x="1004457" y="2727179"/>
                </a:cubicBezTo>
                <a:cubicBezTo>
                  <a:pt x="1031699" y="2753278"/>
                  <a:pt x="1043891" y="2781853"/>
                  <a:pt x="1034175" y="2821001"/>
                </a:cubicBezTo>
                <a:cubicBezTo>
                  <a:pt x="1024555" y="2859577"/>
                  <a:pt x="1021031" y="2899677"/>
                  <a:pt x="1012173" y="2956256"/>
                </a:cubicBezTo>
                <a:cubicBezTo>
                  <a:pt x="1123234" y="2851957"/>
                  <a:pt x="1227914" y="2856815"/>
                  <a:pt x="1336880" y="2946540"/>
                </a:cubicBezTo>
                <a:cubicBezTo>
                  <a:pt x="1287350" y="2817476"/>
                  <a:pt x="1311163" y="2716702"/>
                  <a:pt x="1439464" y="2644979"/>
                </a:cubicBezTo>
                <a:close/>
                <a:moveTo>
                  <a:pt x="529827" y="2942635"/>
                </a:moveTo>
                <a:cubicBezTo>
                  <a:pt x="479535" y="2812333"/>
                  <a:pt x="510586" y="2714892"/>
                  <a:pt x="627267" y="2643169"/>
                </a:cubicBezTo>
                <a:cubicBezTo>
                  <a:pt x="602502" y="2634406"/>
                  <a:pt x="584691" y="2629358"/>
                  <a:pt x="566784" y="2628977"/>
                </a:cubicBezTo>
                <a:cubicBezTo>
                  <a:pt x="488679" y="2627357"/>
                  <a:pt x="429528" y="2600021"/>
                  <a:pt x="404382" y="2519153"/>
                </a:cubicBezTo>
                <a:cubicBezTo>
                  <a:pt x="397429" y="2496770"/>
                  <a:pt x="382761" y="2476862"/>
                  <a:pt x="371902" y="2456193"/>
                </a:cubicBezTo>
                <a:cubicBezTo>
                  <a:pt x="339803" y="2508200"/>
                  <a:pt x="319991" y="2569445"/>
                  <a:pt x="277890" y="2600211"/>
                </a:cubicBezTo>
                <a:cubicBezTo>
                  <a:pt x="237028" y="2630024"/>
                  <a:pt x="173211" y="2628405"/>
                  <a:pt x="103488" y="2644217"/>
                </a:cubicBezTo>
                <a:cubicBezTo>
                  <a:pt x="232075" y="2716130"/>
                  <a:pt x="256935" y="2815571"/>
                  <a:pt x="209120" y="2944254"/>
                </a:cubicBezTo>
                <a:cubicBezTo>
                  <a:pt x="317610" y="2856243"/>
                  <a:pt x="419527" y="2852909"/>
                  <a:pt x="529827" y="2942635"/>
                </a:cubicBezTo>
                <a:close/>
                <a:moveTo>
                  <a:pt x="2139266" y="2942825"/>
                </a:moveTo>
                <a:cubicBezTo>
                  <a:pt x="2087736" y="2811952"/>
                  <a:pt x="2121550" y="2715273"/>
                  <a:pt x="2238421" y="2638216"/>
                </a:cubicBezTo>
                <a:cubicBezTo>
                  <a:pt x="2097928" y="2644598"/>
                  <a:pt x="2013346" y="2585162"/>
                  <a:pt x="1986390" y="2445716"/>
                </a:cubicBezTo>
                <a:cubicBezTo>
                  <a:pt x="1950861" y="2505056"/>
                  <a:pt x="1932097" y="2566969"/>
                  <a:pt x="1890378" y="2597544"/>
                </a:cubicBezTo>
                <a:cubicBezTo>
                  <a:pt x="1848372" y="2628310"/>
                  <a:pt x="1783602" y="2627929"/>
                  <a:pt x="1712451" y="2645169"/>
                </a:cubicBezTo>
                <a:cubicBezTo>
                  <a:pt x="1843991" y="2715273"/>
                  <a:pt x="1863517" y="2816333"/>
                  <a:pt x="1819035" y="2943968"/>
                </a:cubicBezTo>
                <a:cubicBezTo>
                  <a:pt x="1927239" y="2855481"/>
                  <a:pt x="2029157" y="2853576"/>
                  <a:pt x="2139266" y="2942825"/>
                </a:cubicBezTo>
                <a:close/>
                <a:moveTo>
                  <a:pt x="1174193" y="1784585"/>
                </a:moveTo>
                <a:cubicBezTo>
                  <a:pt x="1224104" y="1723054"/>
                  <a:pt x="1266490" y="1663427"/>
                  <a:pt x="1316687" y="1611135"/>
                </a:cubicBezTo>
                <a:cubicBezTo>
                  <a:pt x="1359550" y="1566463"/>
                  <a:pt x="1362979" y="1517790"/>
                  <a:pt x="1354025" y="1459307"/>
                </a:cubicBezTo>
                <a:cubicBezTo>
                  <a:pt x="1234963" y="1508360"/>
                  <a:pt x="1115709" y="1505122"/>
                  <a:pt x="984455" y="1459973"/>
                </a:cubicBezTo>
                <a:cubicBezTo>
                  <a:pt x="991694" y="1504455"/>
                  <a:pt x="986931" y="1546079"/>
                  <a:pt x="1004838" y="1571987"/>
                </a:cubicBezTo>
                <a:cubicBezTo>
                  <a:pt x="1055035" y="1644663"/>
                  <a:pt x="1114471" y="1710862"/>
                  <a:pt x="1174193" y="1784585"/>
                </a:cubicBezTo>
                <a:close/>
                <a:moveTo>
                  <a:pt x="1416604" y="1973657"/>
                </a:moveTo>
                <a:cubicBezTo>
                  <a:pt x="1466230" y="1873739"/>
                  <a:pt x="1513093" y="1779347"/>
                  <a:pt x="1561289" y="1682192"/>
                </a:cubicBezTo>
                <a:cubicBezTo>
                  <a:pt x="1511568" y="1662665"/>
                  <a:pt x="1466420" y="1645044"/>
                  <a:pt x="1418985" y="1626470"/>
                </a:cubicBezTo>
                <a:cubicBezTo>
                  <a:pt x="1359550" y="1699908"/>
                  <a:pt x="1301161" y="1771917"/>
                  <a:pt x="1240011" y="1847450"/>
                </a:cubicBezTo>
                <a:cubicBezTo>
                  <a:pt x="1299351" y="1889932"/>
                  <a:pt x="1355549" y="1930127"/>
                  <a:pt x="1416604" y="1973657"/>
                </a:cubicBezTo>
                <a:close/>
                <a:moveTo>
                  <a:pt x="1107518" y="1847069"/>
                </a:moveTo>
                <a:cubicBezTo>
                  <a:pt x="1051225" y="1777251"/>
                  <a:pt x="998076" y="1710767"/>
                  <a:pt x="943878" y="1645139"/>
                </a:cubicBezTo>
                <a:cubicBezTo>
                  <a:pt x="937973" y="1637900"/>
                  <a:pt x="924162" y="1629328"/>
                  <a:pt x="917685" y="1631709"/>
                </a:cubicBezTo>
                <a:cubicBezTo>
                  <a:pt x="874346" y="1647140"/>
                  <a:pt x="832055" y="1665332"/>
                  <a:pt x="787097" y="1683525"/>
                </a:cubicBezTo>
                <a:cubicBezTo>
                  <a:pt x="837198" y="1783538"/>
                  <a:pt x="884061" y="1877168"/>
                  <a:pt x="932163" y="1973085"/>
                </a:cubicBezTo>
                <a:cubicBezTo>
                  <a:pt x="982359" y="1937557"/>
                  <a:pt x="1027508" y="1905839"/>
                  <a:pt x="1072561" y="1873835"/>
                </a:cubicBezTo>
                <a:cubicBezTo>
                  <a:pt x="1082753" y="1866500"/>
                  <a:pt x="1092468" y="1858595"/>
                  <a:pt x="1107518" y="1847069"/>
                </a:cubicBezTo>
                <a:close/>
                <a:moveTo>
                  <a:pt x="1078562" y="2415998"/>
                </a:moveTo>
                <a:cubicBezTo>
                  <a:pt x="1129521" y="2322462"/>
                  <a:pt x="1200672" y="2297221"/>
                  <a:pt x="1272205" y="2429428"/>
                </a:cubicBezTo>
                <a:cubicBezTo>
                  <a:pt x="1254013" y="2323129"/>
                  <a:pt x="1238010" y="2229498"/>
                  <a:pt x="1222104" y="2136153"/>
                </a:cubicBezTo>
                <a:cubicBezTo>
                  <a:pt x="1187528" y="2136153"/>
                  <a:pt x="1159334" y="2136153"/>
                  <a:pt x="1126473" y="2136153"/>
                </a:cubicBezTo>
                <a:cubicBezTo>
                  <a:pt x="1110376" y="2229974"/>
                  <a:pt x="1094469" y="2322938"/>
                  <a:pt x="1078562" y="2415998"/>
                </a:cubicBezTo>
                <a:close/>
                <a:moveTo>
                  <a:pt x="1627678" y="1008488"/>
                </a:moveTo>
                <a:cubicBezTo>
                  <a:pt x="1694639" y="990105"/>
                  <a:pt x="1729119" y="946385"/>
                  <a:pt x="1725024" y="891807"/>
                </a:cubicBezTo>
                <a:cubicBezTo>
                  <a:pt x="1720928" y="837705"/>
                  <a:pt x="1685305" y="800939"/>
                  <a:pt x="1627678" y="793319"/>
                </a:cubicBezTo>
                <a:cubicBezTo>
                  <a:pt x="1627678" y="863899"/>
                  <a:pt x="1627678" y="934098"/>
                  <a:pt x="1627678" y="1008488"/>
                </a:cubicBezTo>
                <a:close/>
                <a:moveTo>
                  <a:pt x="710325" y="794652"/>
                </a:moveTo>
                <a:cubicBezTo>
                  <a:pt x="646889" y="810368"/>
                  <a:pt x="610027" y="852945"/>
                  <a:pt x="612694" y="905237"/>
                </a:cubicBezTo>
                <a:cubicBezTo>
                  <a:pt x="615361" y="956958"/>
                  <a:pt x="652318" y="996011"/>
                  <a:pt x="710325" y="1005440"/>
                </a:cubicBezTo>
                <a:cubicBezTo>
                  <a:pt x="710325" y="935051"/>
                  <a:pt x="710325" y="865137"/>
                  <a:pt x="710325" y="794652"/>
                </a:cubicBezTo>
                <a:close/>
                <a:moveTo>
                  <a:pt x="1077038" y="1982039"/>
                </a:moveTo>
                <a:cubicBezTo>
                  <a:pt x="1094374" y="2060525"/>
                  <a:pt x="1154381" y="2042618"/>
                  <a:pt x="1206102" y="2044999"/>
                </a:cubicBezTo>
                <a:cubicBezTo>
                  <a:pt x="1250964" y="2047094"/>
                  <a:pt x="1255441" y="2010614"/>
                  <a:pt x="1274491" y="1983944"/>
                </a:cubicBezTo>
                <a:cubicBezTo>
                  <a:pt x="1238963" y="1958798"/>
                  <a:pt x="1206959" y="1936128"/>
                  <a:pt x="1173907" y="1912887"/>
                </a:cubicBezTo>
                <a:cubicBezTo>
                  <a:pt x="1139808" y="1937176"/>
                  <a:pt x="1107804" y="1960036"/>
                  <a:pt x="1077038" y="1982039"/>
                </a:cubicBezTo>
                <a:close/>
              </a:path>
            </a:pathLst>
          </a:custGeom>
          <a:solidFill>
            <a:schemeClr val="bg1"/>
          </a:solidFill>
          <a:ln w="317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F29CBAC6-CD2F-7F0D-B1FF-676DE2C5564D}"/>
              </a:ext>
            </a:extLst>
          </p:cNvPr>
          <p:cNvSpPr>
            <a:spLocks noChangeAspect="1"/>
          </p:cNvSpPr>
          <p:nvPr/>
        </p:nvSpPr>
        <p:spPr>
          <a:xfrm>
            <a:off x="7477573" y="5376899"/>
            <a:ext cx="332599" cy="332599"/>
          </a:xfrm>
          <a:prstGeom prst="ellipse">
            <a:avLst/>
          </a:prstGeom>
          <a:solidFill>
            <a:srgbClr val="2389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Graphic 616">
            <a:extLst>
              <a:ext uri="{FF2B5EF4-FFF2-40B4-BE49-F238E27FC236}">
                <a16:creationId xmlns:a16="http://schemas.microsoft.com/office/drawing/2014/main" id="{4413271A-760B-6CC0-052D-1A28C142600C}"/>
              </a:ext>
            </a:extLst>
          </p:cNvPr>
          <p:cNvSpPr>
            <a:spLocks noChangeAspect="1"/>
          </p:cNvSpPr>
          <p:nvPr/>
        </p:nvSpPr>
        <p:spPr>
          <a:xfrm>
            <a:off x="7563097" y="5423460"/>
            <a:ext cx="161550" cy="239477"/>
          </a:xfrm>
          <a:custGeom>
            <a:avLst/>
            <a:gdLst>
              <a:gd name="connsiteX0" fmla="*/ 927540 w 2057465"/>
              <a:gd name="connsiteY0" fmla="*/ 2960865 h 3049930"/>
              <a:gd name="connsiteX1" fmla="*/ 802953 w 2057465"/>
              <a:gd name="connsiteY1" fmla="*/ 2823610 h 3049930"/>
              <a:gd name="connsiteX2" fmla="*/ 771235 w 2057465"/>
              <a:gd name="connsiteY2" fmla="*/ 2710358 h 3049930"/>
              <a:gd name="connsiteX3" fmla="*/ 891345 w 2057465"/>
              <a:gd name="connsiteY3" fmla="*/ 2013509 h 3049930"/>
              <a:gd name="connsiteX4" fmla="*/ 863818 w 2057465"/>
              <a:gd name="connsiteY4" fmla="*/ 1902828 h 3049930"/>
              <a:gd name="connsiteX5" fmla="*/ 715037 w 2057465"/>
              <a:gd name="connsiteY5" fmla="*/ 1848536 h 3049930"/>
              <a:gd name="connsiteX6" fmla="*/ 589974 w 2057465"/>
              <a:gd name="connsiteY6" fmla="*/ 1598790 h 3049930"/>
              <a:gd name="connsiteX7" fmla="*/ 258599 w 2057465"/>
              <a:gd name="connsiteY7" fmla="*/ 1731569 h 3049930"/>
              <a:gd name="connsiteX8" fmla="*/ 94103 w 2057465"/>
              <a:gd name="connsiteY8" fmla="*/ 1980266 h 3049930"/>
              <a:gd name="connsiteX9" fmla="*/ 90769 w 2057465"/>
              <a:gd name="connsiteY9" fmla="*/ 2565864 h 3049930"/>
              <a:gd name="connsiteX10" fmla="*/ 90769 w 2057465"/>
              <a:gd name="connsiteY10" fmla="*/ 2899239 h 3049930"/>
              <a:gd name="connsiteX11" fmla="*/ 153539 w 2057465"/>
              <a:gd name="connsiteY11" fmla="*/ 2960389 h 3049930"/>
              <a:gd name="connsiteX12" fmla="*/ 352992 w 2057465"/>
              <a:gd name="connsiteY12" fmla="*/ 2960389 h 3049930"/>
              <a:gd name="connsiteX13" fmla="*/ 352992 w 2057465"/>
              <a:gd name="connsiteY13" fmla="*/ 2899429 h 3049930"/>
              <a:gd name="connsiteX14" fmla="*/ 352992 w 2057465"/>
              <a:gd name="connsiteY14" fmla="*/ 2123237 h 3049930"/>
              <a:gd name="connsiteX15" fmla="*/ 354802 w 2057465"/>
              <a:gd name="connsiteY15" fmla="*/ 2081136 h 3049930"/>
              <a:gd name="connsiteX16" fmla="*/ 396426 w 2057465"/>
              <a:gd name="connsiteY16" fmla="*/ 2041131 h 3049930"/>
              <a:gd name="connsiteX17" fmla="*/ 444432 w 2057465"/>
              <a:gd name="connsiteY17" fmla="*/ 2080469 h 3049930"/>
              <a:gd name="connsiteX18" fmla="*/ 446528 w 2057465"/>
              <a:gd name="connsiteY18" fmla="*/ 2122475 h 3049930"/>
              <a:gd name="connsiteX19" fmla="*/ 446528 w 2057465"/>
              <a:gd name="connsiteY19" fmla="*/ 2903429 h 3049930"/>
              <a:gd name="connsiteX20" fmla="*/ 446528 w 2057465"/>
              <a:gd name="connsiteY20" fmla="*/ 2960579 h 3049930"/>
              <a:gd name="connsiteX21" fmla="*/ 530538 w 2057465"/>
              <a:gd name="connsiteY21" fmla="*/ 2960484 h 3049930"/>
              <a:gd name="connsiteX22" fmla="*/ 582259 w 2057465"/>
              <a:gd name="connsiteY22" fmla="*/ 3002490 h 3049930"/>
              <a:gd name="connsiteX23" fmla="*/ 533777 w 2057465"/>
              <a:gd name="connsiteY23" fmla="*/ 3048209 h 3049930"/>
              <a:gd name="connsiteX24" fmla="*/ 110009 w 2057465"/>
              <a:gd name="connsiteY24" fmla="*/ 3047448 h 3049930"/>
              <a:gd name="connsiteX25" fmla="*/ 472 w 2057465"/>
              <a:gd name="connsiteY25" fmla="*/ 2922670 h 3049930"/>
              <a:gd name="connsiteX26" fmla="*/ 186 w 2057465"/>
              <a:gd name="connsiteY26" fmla="*/ 2413178 h 3049930"/>
              <a:gd name="connsiteX27" fmla="*/ 281 w 2057465"/>
              <a:gd name="connsiteY27" fmla="*/ 2017985 h 3049930"/>
              <a:gd name="connsiteX28" fmla="*/ 270029 w 2057465"/>
              <a:gd name="connsiteY28" fmla="*/ 1627365 h 3049930"/>
              <a:gd name="connsiteX29" fmla="*/ 725515 w 2057465"/>
              <a:gd name="connsiteY29" fmla="*/ 1450200 h 3049930"/>
              <a:gd name="connsiteX30" fmla="*/ 753614 w 2057465"/>
              <a:gd name="connsiteY30" fmla="*/ 1303229 h 3049930"/>
              <a:gd name="connsiteX31" fmla="*/ 606262 w 2057465"/>
              <a:gd name="connsiteY31" fmla="*/ 1054817 h 3049930"/>
              <a:gd name="connsiteX32" fmla="*/ 574448 w 2057465"/>
              <a:gd name="connsiteY32" fmla="*/ 1029195 h 3049930"/>
              <a:gd name="connsiteX33" fmla="*/ 452624 w 2057465"/>
              <a:gd name="connsiteY33" fmla="*/ 744779 h 3049930"/>
              <a:gd name="connsiteX34" fmla="*/ 467102 w 2057465"/>
              <a:gd name="connsiteY34" fmla="*/ 677627 h 3049930"/>
              <a:gd name="connsiteX35" fmla="*/ 511107 w 2057465"/>
              <a:gd name="connsiteY35" fmla="*/ 345395 h 3049930"/>
              <a:gd name="connsiteX36" fmla="*/ 1080702 w 2057465"/>
              <a:gd name="connsiteY36" fmla="*/ 3924 h 3049930"/>
              <a:gd name="connsiteX37" fmla="*/ 1573621 w 2057465"/>
              <a:gd name="connsiteY37" fmla="*/ 502272 h 3049930"/>
              <a:gd name="connsiteX38" fmla="*/ 1577812 w 2057465"/>
              <a:gd name="connsiteY38" fmla="*/ 616382 h 3049930"/>
              <a:gd name="connsiteX39" fmla="*/ 1606006 w 2057465"/>
              <a:gd name="connsiteY39" fmla="*/ 771639 h 3049930"/>
              <a:gd name="connsiteX40" fmla="*/ 1477228 w 2057465"/>
              <a:gd name="connsiteY40" fmla="*/ 1028909 h 3049930"/>
              <a:gd name="connsiteX41" fmla="*/ 1438937 w 2057465"/>
              <a:gd name="connsiteY41" fmla="*/ 1064438 h 3049930"/>
              <a:gd name="connsiteX42" fmla="*/ 1309588 w 2057465"/>
              <a:gd name="connsiteY42" fmla="*/ 1286656 h 3049930"/>
              <a:gd name="connsiteX43" fmla="*/ 1288728 w 2057465"/>
              <a:gd name="connsiteY43" fmla="*/ 1415815 h 3049930"/>
              <a:gd name="connsiteX44" fmla="*/ 1339211 w 2057465"/>
              <a:gd name="connsiteY44" fmla="*/ 1453248 h 3049930"/>
              <a:gd name="connsiteX45" fmla="*/ 1790315 w 2057465"/>
              <a:gd name="connsiteY45" fmla="*/ 1628508 h 3049930"/>
              <a:gd name="connsiteX46" fmla="*/ 2055872 w 2057465"/>
              <a:gd name="connsiteY46" fmla="*/ 2008079 h 3049930"/>
              <a:gd name="connsiteX47" fmla="*/ 2056348 w 2057465"/>
              <a:gd name="connsiteY47" fmla="*/ 2284304 h 3049930"/>
              <a:gd name="connsiteX48" fmla="*/ 2011485 w 2057465"/>
              <a:gd name="connsiteY48" fmla="*/ 2350122 h 3049930"/>
              <a:gd name="connsiteX49" fmla="*/ 1965670 w 2057465"/>
              <a:gd name="connsiteY49" fmla="*/ 2285638 h 3049930"/>
              <a:gd name="connsiteX50" fmla="*/ 1962146 w 2057465"/>
              <a:gd name="connsiteY50" fmla="*/ 1981028 h 3049930"/>
              <a:gd name="connsiteX51" fmla="*/ 1768312 w 2057465"/>
              <a:gd name="connsiteY51" fmla="*/ 1717376 h 3049930"/>
              <a:gd name="connsiteX52" fmla="*/ 1465703 w 2057465"/>
              <a:gd name="connsiteY52" fmla="*/ 1599647 h 3049930"/>
              <a:gd name="connsiteX53" fmla="*/ 1388074 w 2057465"/>
              <a:gd name="connsiteY53" fmla="*/ 1754714 h 3049930"/>
              <a:gd name="connsiteX54" fmla="*/ 1339306 w 2057465"/>
              <a:gd name="connsiteY54" fmla="*/ 1852441 h 3049930"/>
              <a:gd name="connsiteX55" fmla="*/ 1192335 w 2057465"/>
              <a:gd name="connsiteY55" fmla="*/ 1902638 h 3049930"/>
              <a:gd name="connsiteX56" fmla="*/ 1161950 w 2057465"/>
              <a:gd name="connsiteY56" fmla="*/ 1994173 h 3049930"/>
              <a:gd name="connsiteX57" fmla="*/ 1251962 w 2057465"/>
              <a:gd name="connsiteY57" fmla="*/ 2522906 h 3049930"/>
              <a:gd name="connsiteX58" fmla="*/ 1286156 w 2057465"/>
              <a:gd name="connsiteY58" fmla="*/ 2724074 h 3049930"/>
              <a:gd name="connsiteX59" fmla="*/ 1256629 w 2057465"/>
              <a:gd name="connsiteY59" fmla="*/ 2819514 h 3049930"/>
              <a:gd name="connsiteX60" fmla="*/ 1128899 w 2057465"/>
              <a:gd name="connsiteY60" fmla="*/ 2960579 h 3049930"/>
              <a:gd name="connsiteX61" fmla="*/ 1369024 w 2057465"/>
              <a:gd name="connsiteY61" fmla="*/ 2960579 h 3049930"/>
              <a:gd name="connsiteX62" fmla="*/ 1609816 w 2057465"/>
              <a:gd name="connsiteY62" fmla="*/ 2960579 h 3049930"/>
              <a:gd name="connsiteX63" fmla="*/ 1609816 w 2057465"/>
              <a:gd name="connsiteY63" fmla="*/ 2903144 h 3049930"/>
              <a:gd name="connsiteX64" fmla="*/ 1610006 w 2057465"/>
              <a:gd name="connsiteY64" fmla="*/ 2122189 h 3049930"/>
              <a:gd name="connsiteX65" fmla="*/ 1615055 w 2057465"/>
              <a:gd name="connsiteY65" fmla="*/ 2071230 h 3049930"/>
              <a:gd name="connsiteX66" fmla="*/ 1660203 w 2057465"/>
              <a:gd name="connsiteY66" fmla="*/ 2040655 h 3049930"/>
              <a:gd name="connsiteX67" fmla="*/ 1699541 w 2057465"/>
              <a:gd name="connsiteY67" fmla="*/ 2072468 h 3049930"/>
              <a:gd name="connsiteX68" fmla="*/ 1703351 w 2057465"/>
              <a:gd name="connsiteY68" fmla="*/ 2119141 h 3049930"/>
              <a:gd name="connsiteX69" fmla="*/ 1703447 w 2057465"/>
              <a:gd name="connsiteY69" fmla="*/ 2900096 h 3049930"/>
              <a:gd name="connsiteX70" fmla="*/ 1703447 w 2057465"/>
              <a:gd name="connsiteY70" fmla="*/ 2960294 h 3049930"/>
              <a:gd name="connsiteX71" fmla="*/ 1931856 w 2057465"/>
              <a:gd name="connsiteY71" fmla="*/ 2960008 h 3049930"/>
              <a:gd name="connsiteX72" fmla="*/ 1965670 w 2057465"/>
              <a:gd name="connsiteY72" fmla="*/ 2908573 h 3049930"/>
              <a:gd name="connsiteX73" fmla="*/ 1965860 w 2057465"/>
              <a:gd name="connsiteY73" fmla="*/ 2560910 h 3049930"/>
              <a:gd name="connsiteX74" fmla="*/ 1969004 w 2057465"/>
              <a:gd name="connsiteY74" fmla="*/ 2514048 h 3049930"/>
              <a:gd name="connsiteX75" fmla="*/ 2009961 w 2057465"/>
              <a:gd name="connsiteY75" fmla="*/ 2469566 h 3049930"/>
              <a:gd name="connsiteX76" fmla="*/ 2053681 w 2057465"/>
              <a:gd name="connsiteY76" fmla="*/ 2516238 h 3049930"/>
              <a:gd name="connsiteX77" fmla="*/ 2056253 w 2057465"/>
              <a:gd name="connsiteY77" fmla="*/ 2639682 h 3049930"/>
              <a:gd name="connsiteX78" fmla="*/ 2056157 w 2057465"/>
              <a:gd name="connsiteY78" fmla="*/ 2911145 h 3049930"/>
              <a:gd name="connsiteX79" fmla="*/ 1920140 w 2057465"/>
              <a:gd name="connsiteY79" fmla="*/ 3048591 h 3049930"/>
              <a:gd name="connsiteX80" fmla="*/ 777331 w 2057465"/>
              <a:gd name="connsiteY80" fmla="*/ 3048591 h 3049930"/>
              <a:gd name="connsiteX81" fmla="*/ 744755 w 2057465"/>
              <a:gd name="connsiteY81" fmla="*/ 3046971 h 3049930"/>
              <a:gd name="connsiteX82" fmla="*/ 707513 w 2057465"/>
              <a:gd name="connsiteY82" fmla="*/ 3001727 h 3049930"/>
              <a:gd name="connsiteX83" fmla="*/ 748565 w 2057465"/>
              <a:gd name="connsiteY83" fmla="*/ 2962961 h 3049930"/>
              <a:gd name="connsiteX84" fmla="*/ 927540 w 2057465"/>
              <a:gd name="connsiteY84" fmla="*/ 2960865 h 3049930"/>
              <a:gd name="connsiteX85" fmla="*/ 1246151 w 2057465"/>
              <a:gd name="connsiteY85" fmla="*/ 534752 h 3049930"/>
              <a:gd name="connsiteX86" fmla="*/ 695797 w 2057465"/>
              <a:gd name="connsiteY86" fmla="*/ 687248 h 3049930"/>
              <a:gd name="connsiteX87" fmla="*/ 698654 w 2057465"/>
              <a:gd name="connsiteY87" fmla="*/ 1041482 h 3049930"/>
              <a:gd name="connsiteX88" fmla="*/ 1056985 w 2057465"/>
              <a:gd name="connsiteY88" fmla="*/ 1305420 h 3049930"/>
              <a:gd name="connsiteX89" fmla="*/ 1353403 w 2057465"/>
              <a:gd name="connsiteY89" fmla="*/ 1004430 h 3049930"/>
              <a:gd name="connsiteX90" fmla="*/ 1356451 w 2057465"/>
              <a:gd name="connsiteY90" fmla="*/ 676199 h 3049930"/>
              <a:gd name="connsiteX91" fmla="*/ 1341878 w 2057465"/>
              <a:gd name="connsiteY91" fmla="*/ 638003 h 3049930"/>
              <a:gd name="connsiteX92" fmla="*/ 1246151 w 2057465"/>
              <a:gd name="connsiteY92" fmla="*/ 534752 h 3049930"/>
              <a:gd name="connsiteX93" fmla="*/ 565114 w 2057465"/>
              <a:gd name="connsiteY93" fmla="*/ 665912 h 3049930"/>
              <a:gd name="connsiteX94" fmla="*/ 607310 w 2057465"/>
              <a:gd name="connsiteY94" fmla="*/ 638670 h 3049930"/>
              <a:gd name="connsiteX95" fmla="*/ 695702 w 2057465"/>
              <a:gd name="connsiteY95" fmla="*/ 593998 h 3049930"/>
              <a:gd name="connsiteX96" fmla="*/ 766949 w 2057465"/>
              <a:gd name="connsiteY96" fmla="*/ 594569 h 3049930"/>
              <a:gd name="connsiteX97" fmla="*/ 1187954 w 2057465"/>
              <a:gd name="connsiteY97" fmla="*/ 464458 h 3049930"/>
              <a:gd name="connsiteX98" fmla="*/ 1292538 w 2057465"/>
              <a:gd name="connsiteY98" fmla="*/ 458171 h 3049930"/>
              <a:gd name="connsiteX99" fmla="*/ 1448177 w 2057465"/>
              <a:gd name="connsiteY99" fmla="*/ 639908 h 3049930"/>
              <a:gd name="connsiteX100" fmla="*/ 1481990 w 2057465"/>
              <a:gd name="connsiteY100" fmla="*/ 661435 h 3049930"/>
              <a:gd name="connsiteX101" fmla="*/ 1257677 w 2057465"/>
              <a:gd name="connsiteY101" fmla="*/ 155467 h 3049930"/>
              <a:gd name="connsiteX102" fmla="*/ 764948 w 2057465"/>
              <a:gd name="connsiteY102" fmla="*/ 170612 h 3049930"/>
              <a:gd name="connsiteX103" fmla="*/ 565114 w 2057465"/>
              <a:gd name="connsiteY103" fmla="*/ 665912 h 3049930"/>
              <a:gd name="connsiteX104" fmla="*/ 1027743 w 2057465"/>
              <a:gd name="connsiteY104" fmla="*/ 2935910 h 3049930"/>
              <a:gd name="connsiteX105" fmla="*/ 1119088 w 2057465"/>
              <a:gd name="connsiteY105" fmla="*/ 2837612 h 3049930"/>
              <a:gd name="connsiteX106" fmla="*/ 1183191 w 2057465"/>
              <a:gd name="connsiteY106" fmla="*/ 2644254 h 3049930"/>
              <a:gd name="connsiteX107" fmla="*/ 1076130 w 2057465"/>
              <a:gd name="connsiteY107" fmla="*/ 2018081 h 3049930"/>
              <a:gd name="connsiteX108" fmla="*/ 1025267 w 2057465"/>
              <a:gd name="connsiteY108" fmla="*/ 1984457 h 3049930"/>
              <a:gd name="connsiteX109" fmla="*/ 980118 w 2057465"/>
              <a:gd name="connsiteY109" fmla="*/ 2018938 h 3049930"/>
              <a:gd name="connsiteX110" fmla="*/ 863151 w 2057465"/>
              <a:gd name="connsiteY110" fmla="*/ 2720454 h 3049930"/>
              <a:gd name="connsiteX111" fmla="*/ 872009 w 2057465"/>
              <a:gd name="connsiteY111" fmla="*/ 2762841 h 3049930"/>
              <a:gd name="connsiteX112" fmla="*/ 1027743 w 2057465"/>
              <a:gd name="connsiteY112" fmla="*/ 2935910 h 3049930"/>
              <a:gd name="connsiteX113" fmla="*/ 856674 w 2057465"/>
              <a:gd name="connsiteY113" fmla="*/ 1366380 h 3049930"/>
              <a:gd name="connsiteX114" fmla="*/ 868961 w 2057465"/>
              <a:gd name="connsiteY114" fmla="*/ 1453915 h 3049930"/>
              <a:gd name="connsiteX115" fmla="*/ 1027838 w 2057465"/>
              <a:gd name="connsiteY115" fmla="*/ 1653845 h 3049930"/>
              <a:gd name="connsiteX116" fmla="*/ 1166903 w 2057465"/>
              <a:gd name="connsiteY116" fmla="*/ 1484871 h 3049930"/>
              <a:gd name="connsiteX117" fmla="*/ 1191287 w 2057465"/>
              <a:gd name="connsiteY117" fmla="*/ 1364570 h 3049930"/>
              <a:gd name="connsiteX118" fmla="*/ 856674 w 2057465"/>
              <a:gd name="connsiteY118" fmla="*/ 1366380 h 3049930"/>
              <a:gd name="connsiteX119" fmla="*/ 962402 w 2057465"/>
              <a:gd name="connsiteY119" fmla="*/ 1717376 h 3049930"/>
              <a:gd name="connsiteX120" fmla="*/ 816098 w 2057465"/>
              <a:gd name="connsiteY120" fmla="*/ 1537449 h 3049930"/>
              <a:gd name="connsiteX121" fmla="*/ 784951 w 2057465"/>
              <a:gd name="connsiteY121" fmla="*/ 1525448 h 3049930"/>
              <a:gd name="connsiteX122" fmla="*/ 675413 w 2057465"/>
              <a:gd name="connsiteY122" fmla="*/ 1567643 h 3049930"/>
              <a:gd name="connsiteX123" fmla="*/ 806096 w 2057465"/>
              <a:gd name="connsiteY123" fmla="*/ 1828533 h 3049930"/>
              <a:gd name="connsiteX124" fmla="*/ 962402 w 2057465"/>
              <a:gd name="connsiteY124" fmla="*/ 1717376 h 3049930"/>
              <a:gd name="connsiteX125" fmla="*/ 1093466 w 2057465"/>
              <a:gd name="connsiteY125" fmla="*/ 1717281 h 3049930"/>
              <a:gd name="connsiteX126" fmla="*/ 1250152 w 2057465"/>
              <a:gd name="connsiteY126" fmla="*/ 1828438 h 3049930"/>
              <a:gd name="connsiteX127" fmla="*/ 1316732 w 2057465"/>
              <a:gd name="connsiteY127" fmla="*/ 1695278 h 3049930"/>
              <a:gd name="connsiteX128" fmla="*/ 1380263 w 2057465"/>
              <a:gd name="connsiteY128" fmla="*/ 1566786 h 3049930"/>
              <a:gd name="connsiteX129" fmla="*/ 1279489 w 2057465"/>
              <a:gd name="connsiteY129" fmla="*/ 1528400 h 3049930"/>
              <a:gd name="connsiteX130" fmla="*/ 1239865 w 2057465"/>
              <a:gd name="connsiteY130" fmla="*/ 1537925 h 3049930"/>
              <a:gd name="connsiteX131" fmla="*/ 1093466 w 2057465"/>
              <a:gd name="connsiteY131" fmla="*/ 1717281 h 3049930"/>
              <a:gd name="connsiteX132" fmla="*/ 1112516 w 2057465"/>
              <a:gd name="connsiteY132" fmla="*/ 1844249 h 3049930"/>
              <a:gd name="connsiteX133" fmla="*/ 931826 w 2057465"/>
              <a:gd name="connsiteY133" fmla="*/ 1854251 h 3049930"/>
              <a:gd name="connsiteX134" fmla="*/ 1005740 w 2057465"/>
              <a:gd name="connsiteY134" fmla="*/ 1893970 h 3049930"/>
              <a:gd name="connsiteX135" fmla="*/ 1112516 w 2057465"/>
              <a:gd name="connsiteY135" fmla="*/ 1844249 h 3049930"/>
              <a:gd name="connsiteX136" fmla="*/ 1449224 w 2057465"/>
              <a:gd name="connsiteY136" fmla="*/ 937184 h 3049930"/>
              <a:gd name="connsiteX137" fmla="*/ 1532378 w 2057465"/>
              <a:gd name="connsiteY137" fmla="*/ 841362 h 3049930"/>
              <a:gd name="connsiteX138" fmla="*/ 1449224 w 2057465"/>
              <a:gd name="connsiteY138" fmla="*/ 749255 h 3049930"/>
              <a:gd name="connsiteX139" fmla="*/ 1449224 w 2057465"/>
              <a:gd name="connsiteY139" fmla="*/ 937184 h 3049930"/>
              <a:gd name="connsiteX140" fmla="*/ 597499 w 2057465"/>
              <a:gd name="connsiteY140" fmla="*/ 940422 h 3049930"/>
              <a:gd name="connsiteX141" fmla="*/ 597499 w 2057465"/>
              <a:gd name="connsiteY141" fmla="*/ 753351 h 3049930"/>
              <a:gd name="connsiteX142" fmla="*/ 513965 w 2057465"/>
              <a:gd name="connsiteY142" fmla="*/ 836790 h 3049930"/>
              <a:gd name="connsiteX143" fmla="*/ 597499 w 2057465"/>
              <a:gd name="connsiteY143" fmla="*/ 940422 h 3049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2057465" h="3049930">
                <a:moveTo>
                  <a:pt x="927540" y="2960865"/>
                </a:moveTo>
                <a:cubicBezTo>
                  <a:pt x="879629" y="2907716"/>
                  <a:pt x="843244" y="2863710"/>
                  <a:pt x="802953" y="2823610"/>
                </a:cubicBezTo>
                <a:cubicBezTo>
                  <a:pt x="769806" y="2790653"/>
                  <a:pt x="763805" y="2753601"/>
                  <a:pt x="771235" y="2710358"/>
                </a:cubicBezTo>
                <a:cubicBezTo>
                  <a:pt x="811526" y="2478138"/>
                  <a:pt x="851435" y="2245823"/>
                  <a:pt x="891345" y="2013509"/>
                </a:cubicBezTo>
                <a:cubicBezTo>
                  <a:pt x="898394" y="1972646"/>
                  <a:pt x="905823" y="1931498"/>
                  <a:pt x="863818" y="1902828"/>
                </a:cubicBezTo>
                <a:cubicBezTo>
                  <a:pt x="782189" y="1940452"/>
                  <a:pt x="756471" y="1931022"/>
                  <a:pt x="715037" y="1848536"/>
                </a:cubicBezTo>
                <a:cubicBezTo>
                  <a:pt x="673985" y="1766621"/>
                  <a:pt x="633027" y="1684706"/>
                  <a:pt x="589974" y="1598790"/>
                </a:cubicBezTo>
                <a:cubicBezTo>
                  <a:pt x="477579" y="1643177"/>
                  <a:pt x="364994" y="1680896"/>
                  <a:pt x="258599" y="1731569"/>
                </a:cubicBezTo>
                <a:cubicBezTo>
                  <a:pt x="157825" y="1779575"/>
                  <a:pt x="96579" y="1865395"/>
                  <a:pt x="94103" y="1980266"/>
                </a:cubicBezTo>
                <a:cubicBezTo>
                  <a:pt x="90197" y="2175434"/>
                  <a:pt x="91436" y="2370696"/>
                  <a:pt x="90769" y="2565864"/>
                </a:cubicBezTo>
                <a:cubicBezTo>
                  <a:pt x="90388" y="2677020"/>
                  <a:pt x="90483" y="2788082"/>
                  <a:pt x="90769" y="2899239"/>
                </a:cubicBezTo>
                <a:cubicBezTo>
                  <a:pt x="90959" y="2957150"/>
                  <a:pt x="94293" y="2960199"/>
                  <a:pt x="153539" y="2960389"/>
                </a:cubicBezTo>
                <a:cubicBezTo>
                  <a:pt x="218213" y="2960579"/>
                  <a:pt x="282888" y="2960389"/>
                  <a:pt x="352992" y="2960389"/>
                </a:cubicBezTo>
                <a:cubicBezTo>
                  <a:pt x="352992" y="2936576"/>
                  <a:pt x="352992" y="2918003"/>
                  <a:pt x="352992" y="2899429"/>
                </a:cubicBezTo>
                <a:cubicBezTo>
                  <a:pt x="352992" y="2640730"/>
                  <a:pt x="352992" y="2381936"/>
                  <a:pt x="352992" y="2123237"/>
                </a:cubicBezTo>
                <a:cubicBezTo>
                  <a:pt x="352992" y="2108949"/>
                  <a:pt x="348420" y="2091709"/>
                  <a:pt x="354802" y="2081136"/>
                </a:cubicBezTo>
                <a:cubicBezTo>
                  <a:pt x="364803" y="2064467"/>
                  <a:pt x="383567" y="2039798"/>
                  <a:pt x="396426" y="2041131"/>
                </a:cubicBezTo>
                <a:cubicBezTo>
                  <a:pt x="413952" y="2042846"/>
                  <a:pt x="432335" y="2063610"/>
                  <a:pt x="444432" y="2080469"/>
                </a:cubicBezTo>
                <a:cubicBezTo>
                  <a:pt x="451290" y="2090090"/>
                  <a:pt x="446528" y="2108187"/>
                  <a:pt x="446528" y="2122475"/>
                </a:cubicBezTo>
                <a:cubicBezTo>
                  <a:pt x="446623" y="2382793"/>
                  <a:pt x="446528" y="2643111"/>
                  <a:pt x="446528" y="2903429"/>
                </a:cubicBezTo>
                <a:cubicBezTo>
                  <a:pt x="446528" y="2920479"/>
                  <a:pt x="446528" y="2937624"/>
                  <a:pt x="446528" y="2960579"/>
                </a:cubicBezTo>
                <a:cubicBezTo>
                  <a:pt x="477579" y="2960579"/>
                  <a:pt x="504059" y="2960865"/>
                  <a:pt x="530538" y="2960484"/>
                </a:cubicBezTo>
                <a:cubicBezTo>
                  <a:pt x="559780" y="2960103"/>
                  <a:pt x="581402" y="2970009"/>
                  <a:pt x="582259" y="3002490"/>
                </a:cubicBezTo>
                <a:cubicBezTo>
                  <a:pt x="583116" y="3034208"/>
                  <a:pt x="563590" y="3048209"/>
                  <a:pt x="533777" y="3048209"/>
                </a:cubicBezTo>
                <a:cubicBezTo>
                  <a:pt x="392521" y="3048400"/>
                  <a:pt x="251170" y="3049829"/>
                  <a:pt x="110009" y="3047448"/>
                </a:cubicBezTo>
                <a:cubicBezTo>
                  <a:pt x="42953" y="3046304"/>
                  <a:pt x="758" y="2995917"/>
                  <a:pt x="472" y="2922670"/>
                </a:cubicBezTo>
                <a:cubicBezTo>
                  <a:pt x="-290" y="2752839"/>
                  <a:pt x="186" y="2583008"/>
                  <a:pt x="186" y="2413178"/>
                </a:cubicBezTo>
                <a:cubicBezTo>
                  <a:pt x="186" y="2281447"/>
                  <a:pt x="-290" y="2149716"/>
                  <a:pt x="281" y="2017985"/>
                </a:cubicBezTo>
                <a:cubicBezTo>
                  <a:pt x="1234" y="1830152"/>
                  <a:pt x="95436" y="1694707"/>
                  <a:pt x="270029" y="1627365"/>
                </a:cubicBezTo>
                <a:cubicBezTo>
                  <a:pt x="422048" y="1568691"/>
                  <a:pt x="573686" y="1509255"/>
                  <a:pt x="725515" y="1450200"/>
                </a:cubicBezTo>
                <a:cubicBezTo>
                  <a:pt x="773807" y="1431436"/>
                  <a:pt x="793238" y="1338377"/>
                  <a:pt x="753614" y="1303229"/>
                </a:cubicBezTo>
                <a:cubicBezTo>
                  <a:pt x="677509" y="1235792"/>
                  <a:pt x="625598" y="1155782"/>
                  <a:pt x="606262" y="1054817"/>
                </a:cubicBezTo>
                <a:cubicBezTo>
                  <a:pt x="604262" y="1044435"/>
                  <a:pt x="586831" y="1032434"/>
                  <a:pt x="574448" y="1029195"/>
                </a:cubicBezTo>
                <a:cubicBezTo>
                  <a:pt x="444242" y="995667"/>
                  <a:pt x="387663" y="862508"/>
                  <a:pt x="452624" y="744779"/>
                </a:cubicBezTo>
                <a:cubicBezTo>
                  <a:pt x="463292" y="725443"/>
                  <a:pt x="467006" y="700202"/>
                  <a:pt x="467102" y="677627"/>
                </a:cubicBezTo>
                <a:cubicBezTo>
                  <a:pt x="467768" y="564947"/>
                  <a:pt x="467197" y="452837"/>
                  <a:pt x="511107" y="345395"/>
                </a:cubicBezTo>
                <a:cubicBezTo>
                  <a:pt x="606548" y="111842"/>
                  <a:pt x="843625" y="-25413"/>
                  <a:pt x="1080702" y="3924"/>
                </a:cubicBezTo>
                <a:cubicBezTo>
                  <a:pt x="1354070" y="37833"/>
                  <a:pt x="1551618" y="241763"/>
                  <a:pt x="1573621" y="502272"/>
                </a:cubicBezTo>
                <a:cubicBezTo>
                  <a:pt x="1576859" y="540182"/>
                  <a:pt x="1577240" y="578377"/>
                  <a:pt x="1577812" y="616382"/>
                </a:cubicBezTo>
                <a:cubicBezTo>
                  <a:pt x="1578574" y="669722"/>
                  <a:pt x="1580479" y="719537"/>
                  <a:pt x="1606006" y="771639"/>
                </a:cubicBezTo>
                <a:cubicBezTo>
                  <a:pt x="1657155" y="876128"/>
                  <a:pt x="1590099" y="998144"/>
                  <a:pt x="1477228" y="1028909"/>
                </a:cubicBezTo>
                <a:cubicBezTo>
                  <a:pt x="1461988" y="1033100"/>
                  <a:pt x="1442366" y="1050055"/>
                  <a:pt x="1438937" y="1064438"/>
                </a:cubicBezTo>
                <a:cubicBezTo>
                  <a:pt x="1418363" y="1152258"/>
                  <a:pt x="1376930" y="1227125"/>
                  <a:pt x="1309588" y="1286656"/>
                </a:cubicBezTo>
                <a:cubicBezTo>
                  <a:pt x="1266725" y="1324565"/>
                  <a:pt x="1289204" y="1372667"/>
                  <a:pt x="1288728" y="1415815"/>
                </a:cubicBezTo>
                <a:cubicBezTo>
                  <a:pt x="1288633" y="1428293"/>
                  <a:pt x="1319589" y="1445438"/>
                  <a:pt x="1339211" y="1453248"/>
                </a:cubicBezTo>
                <a:cubicBezTo>
                  <a:pt x="1489134" y="1512684"/>
                  <a:pt x="1639820" y="1570501"/>
                  <a:pt x="1790315" y="1628508"/>
                </a:cubicBezTo>
                <a:cubicBezTo>
                  <a:pt x="1956431" y="1692516"/>
                  <a:pt x="2053776" y="1830629"/>
                  <a:pt x="2055872" y="2008079"/>
                </a:cubicBezTo>
                <a:cubicBezTo>
                  <a:pt x="2057015" y="2100091"/>
                  <a:pt x="2055586" y="2192198"/>
                  <a:pt x="2056348" y="2284304"/>
                </a:cubicBezTo>
                <a:cubicBezTo>
                  <a:pt x="2056634" y="2317928"/>
                  <a:pt x="2049299" y="2348979"/>
                  <a:pt x="2011485" y="2350122"/>
                </a:cubicBezTo>
                <a:cubicBezTo>
                  <a:pt x="1971575" y="2351360"/>
                  <a:pt x="1966051" y="2317642"/>
                  <a:pt x="1965670" y="2285638"/>
                </a:cubicBezTo>
                <a:cubicBezTo>
                  <a:pt x="1964527" y="2184101"/>
                  <a:pt x="1967003" y="2082374"/>
                  <a:pt x="1962146" y="1981028"/>
                </a:cubicBezTo>
                <a:cubicBezTo>
                  <a:pt x="1955954" y="1852155"/>
                  <a:pt x="1884041" y="1766240"/>
                  <a:pt x="1768312" y="1717376"/>
                </a:cubicBezTo>
                <a:cubicBezTo>
                  <a:pt x="1670681" y="1676228"/>
                  <a:pt x="1570859" y="1640319"/>
                  <a:pt x="1465703" y="1599647"/>
                </a:cubicBezTo>
                <a:cubicBezTo>
                  <a:pt x="1439985" y="1650987"/>
                  <a:pt x="1413982" y="1702803"/>
                  <a:pt x="1388074" y="1754714"/>
                </a:cubicBezTo>
                <a:cubicBezTo>
                  <a:pt x="1371786" y="1787290"/>
                  <a:pt x="1355594" y="1819865"/>
                  <a:pt x="1339306" y="1852441"/>
                </a:cubicBezTo>
                <a:cubicBezTo>
                  <a:pt x="1300063" y="1930546"/>
                  <a:pt x="1271583" y="1940357"/>
                  <a:pt x="1192335" y="1902638"/>
                </a:cubicBezTo>
                <a:cubicBezTo>
                  <a:pt x="1161284" y="1926069"/>
                  <a:pt x="1155378" y="1956740"/>
                  <a:pt x="1161950" y="1994173"/>
                </a:cubicBezTo>
                <a:cubicBezTo>
                  <a:pt x="1192716" y="2170290"/>
                  <a:pt x="1222053" y="2346693"/>
                  <a:pt x="1251962" y="2522906"/>
                </a:cubicBezTo>
                <a:cubicBezTo>
                  <a:pt x="1263296" y="2589962"/>
                  <a:pt x="1274441" y="2657018"/>
                  <a:pt x="1286156" y="2724074"/>
                </a:cubicBezTo>
                <a:cubicBezTo>
                  <a:pt x="1292633" y="2761126"/>
                  <a:pt x="1283299" y="2791796"/>
                  <a:pt x="1256629" y="2819514"/>
                </a:cubicBezTo>
                <a:cubicBezTo>
                  <a:pt x="1216052" y="2861615"/>
                  <a:pt x="1177952" y="2906096"/>
                  <a:pt x="1128899" y="2960579"/>
                </a:cubicBezTo>
                <a:cubicBezTo>
                  <a:pt x="1216719" y="2960579"/>
                  <a:pt x="1292824" y="2960579"/>
                  <a:pt x="1369024" y="2960579"/>
                </a:cubicBezTo>
                <a:cubicBezTo>
                  <a:pt x="1446653" y="2960579"/>
                  <a:pt x="1524186" y="2960579"/>
                  <a:pt x="1609816" y="2960579"/>
                </a:cubicBezTo>
                <a:cubicBezTo>
                  <a:pt x="1609816" y="2939434"/>
                  <a:pt x="1609816" y="2921241"/>
                  <a:pt x="1609816" y="2903144"/>
                </a:cubicBezTo>
                <a:cubicBezTo>
                  <a:pt x="1609816" y="2642825"/>
                  <a:pt x="1609721" y="2382507"/>
                  <a:pt x="1610006" y="2122189"/>
                </a:cubicBezTo>
                <a:cubicBezTo>
                  <a:pt x="1610006" y="2104854"/>
                  <a:pt x="1606958" y="2084184"/>
                  <a:pt x="1615055" y="2071230"/>
                </a:cubicBezTo>
                <a:cubicBezTo>
                  <a:pt x="1624294" y="2056562"/>
                  <a:pt x="1644296" y="2041322"/>
                  <a:pt x="1660203" y="2040655"/>
                </a:cubicBezTo>
                <a:cubicBezTo>
                  <a:pt x="1673348" y="2040179"/>
                  <a:pt x="1691445" y="2058181"/>
                  <a:pt x="1699541" y="2072468"/>
                </a:cubicBezTo>
                <a:cubicBezTo>
                  <a:pt x="1706495" y="2084756"/>
                  <a:pt x="1703256" y="2103329"/>
                  <a:pt x="1703351" y="2119141"/>
                </a:cubicBezTo>
                <a:cubicBezTo>
                  <a:pt x="1703542" y="2379459"/>
                  <a:pt x="1703447" y="2639777"/>
                  <a:pt x="1703447" y="2900096"/>
                </a:cubicBezTo>
                <a:cubicBezTo>
                  <a:pt x="1703447" y="2918669"/>
                  <a:pt x="1703447" y="2937243"/>
                  <a:pt x="1703447" y="2960294"/>
                </a:cubicBezTo>
                <a:cubicBezTo>
                  <a:pt x="1783457" y="2960294"/>
                  <a:pt x="1857656" y="2960960"/>
                  <a:pt x="1931856" y="2960008"/>
                </a:cubicBezTo>
                <a:cubicBezTo>
                  <a:pt x="1966337" y="2959627"/>
                  <a:pt x="1965575" y="2932957"/>
                  <a:pt x="1965670" y="2908573"/>
                </a:cubicBezTo>
                <a:cubicBezTo>
                  <a:pt x="1965765" y="2792654"/>
                  <a:pt x="1965670" y="2676830"/>
                  <a:pt x="1965860" y="2560910"/>
                </a:cubicBezTo>
                <a:cubicBezTo>
                  <a:pt x="1965860" y="2545099"/>
                  <a:pt x="1962241" y="2526620"/>
                  <a:pt x="1969004" y="2514048"/>
                </a:cubicBezTo>
                <a:cubicBezTo>
                  <a:pt x="1978243" y="2496902"/>
                  <a:pt x="1995864" y="2484234"/>
                  <a:pt x="2009961" y="2469566"/>
                </a:cubicBezTo>
                <a:cubicBezTo>
                  <a:pt x="2025201" y="2484996"/>
                  <a:pt x="2050728" y="2498712"/>
                  <a:pt x="2053681" y="2516238"/>
                </a:cubicBezTo>
                <a:cubicBezTo>
                  <a:pt x="2060348" y="2556434"/>
                  <a:pt x="2056157" y="2598439"/>
                  <a:pt x="2056253" y="2639682"/>
                </a:cubicBezTo>
                <a:cubicBezTo>
                  <a:pt x="2056348" y="2730170"/>
                  <a:pt x="2056538" y="2820657"/>
                  <a:pt x="2056157" y="2911145"/>
                </a:cubicBezTo>
                <a:cubicBezTo>
                  <a:pt x="2055776" y="3004871"/>
                  <a:pt x="2012723" y="3048495"/>
                  <a:pt x="1920140" y="3048591"/>
                </a:cubicBezTo>
                <a:cubicBezTo>
                  <a:pt x="1539236" y="3048686"/>
                  <a:pt x="1158236" y="3048686"/>
                  <a:pt x="777331" y="3048591"/>
                </a:cubicBezTo>
                <a:cubicBezTo>
                  <a:pt x="766187" y="3048591"/>
                  <a:pt x="751613" y="3052496"/>
                  <a:pt x="744755" y="3046971"/>
                </a:cubicBezTo>
                <a:cubicBezTo>
                  <a:pt x="729230" y="3034398"/>
                  <a:pt x="707417" y="3017063"/>
                  <a:pt x="707513" y="3001727"/>
                </a:cubicBezTo>
                <a:cubicBezTo>
                  <a:pt x="707608" y="2988107"/>
                  <a:pt x="732849" y="2964390"/>
                  <a:pt x="748565" y="2962961"/>
                </a:cubicBezTo>
                <a:cubicBezTo>
                  <a:pt x="803048" y="2957912"/>
                  <a:pt x="858389" y="2960865"/>
                  <a:pt x="927540" y="2960865"/>
                </a:cubicBezTo>
                <a:close/>
                <a:moveTo>
                  <a:pt x="1246151" y="534752"/>
                </a:moveTo>
                <a:cubicBezTo>
                  <a:pt x="1073844" y="642194"/>
                  <a:pt x="889916" y="690677"/>
                  <a:pt x="695797" y="687248"/>
                </a:cubicBezTo>
                <a:cubicBezTo>
                  <a:pt x="695797" y="808310"/>
                  <a:pt x="683605" y="926706"/>
                  <a:pt x="698654" y="1041482"/>
                </a:cubicBezTo>
                <a:cubicBezTo>
                  <a:pt x="720657" y="1208360"/>
                  <a:pt x="878296" y="1316088"/>
                  <a:pt x="1056985" y="1305420"/>
                </a:cubicBezTo>
                <a:cubicBezTo>
                  <a:pt x="1211766" y="1296181"/>
                  <a:pt x="1343687" y="1166069"/>
                  <a:pt x="1353403" y="1004430"/>
                </a:cubicBezTo>
                <a:cubicBezTo>
                  <a:pt x="1359975" y="895369"/>
                  <a:pt x="1356737" y="785641"/>
                  <a:pt x="1356451" y="676199"/>
                </a:cubicBezTo>
                <a:cubicBezTo>
                  <a:pt x="1356451" y="663340"/>
                  <a:pt x="1350355" y="647814"/>
                  <a:pt x="1341878" y="638003"/>
                </a:cubicBezTo>
                <a:cubicBezTo>
                  <a:pt x="1311969" y="603332"/>
                  <a:pt x="1279775" y="570662"/>
                  <a:pt x="1246151" y="534752"/>
                </a:cubicBezTo>
                <a:close/>
                <a:moveTo>
                  <a:pt x="565114" y="665912"/>
                </a:moveTo>
                <a:cubicBezTo>
                  <a:pt x="582354" y="655244"/>
                  <a:pt x="600166" y="650291"/>
                  <a:pt x="607310" y="638670"/>
                </a:cubicBezTo>
                <a:cubicBezTo>
                  <a:pt x="628360" y="604571"/>
                  <a:pt x="658745" y="593903"/>
                  <a:pt x="695702" y="593998"/>
                </a:cubicBezTo>
                <a:cubicBezTo>
                  <a:pt x="719419" y="594093"/>
                  <a:pt x="743231" y="595427"/>
                  <a:pt x="766949" y="594569"/>
                </a:cubicBezTo>
                <a:cubicBezTo>
                  <a:pt x="918872" y="588854"/>
                  <a:pt x="1058699" y="543420"/>
                  <a:pt x="1187954" y="464458"/>
                </a:cubicBezTo>
                <a:cubicBezTo>
                  <a:pt x="1222529" y="443312"/>
                  <a:pt x="1261772" y="426453"/>
                  <a:pt x="1292538" y="458171"/>
                </a:cubicBezTo>
                <a:cubicBezTo>
                  <a:pt x="1347974" y="515321"/>
                  <a:pt x="1396075" y="579520"/>
                  <a:pt x="1448177" y="639908"/>
                </a:cubicBezTo>
                <a:cubicBezTo>
                  <a:pt x="1455892" y="648767"/>
                  <a:pt x="1468751" y="653243"/>
                  <a:pt x="1481990" y="661435"/>
                </a:cubicBezTo>
                <a:cubicBezTo>
                  <a:pt x="1503993" y="442455"/>
                  <a:pt x="1445605" y="266338"/>
                  <a:pt x="1257677" y="155467"/>
                </a:cubicBezTo>
                <a:cubicBezTo>
                  <a:pt x="1093370" y="58502"/>
                  <a:pt x="923540" y="64217"/>
                  <a:pt x="764948" y="170612"/>
                </a:cubicBezTo>
                <a:cubicBezTo>
                  <a:pt x="592736" y="286245"/>
                  <a:pt x="542540" y="457219"/>
                  <a:pt x="565114" y="665912"/>
                </a:cubicBezTo>
                <a:close/>
                <a:moveTo>
                  <a:pt x="1027743" y="2935910"/>
                </a:moveTo>
                <a:cubicBezTo>
                  <a:pt x="1060795" y="2899905"/>
                  <a:pt x="1087179" y="2865615"/>
                  <a:pt x="1119088" y="2837612"/>
                </a:cubicBezTo>
                <a:cubicBezTo>
                  <a:pt x="1179381" y="2784748"/>
                  <a:pt x="1201098" y="2729598"/>
                  <a:pt x="1183191" y="2644254"/>
                </a:cubicBezTo>
                <a:cubicBezTo>
                  <a:pt x="1139662" y="2437181"/>
                  <a:pt x="1109753" y="2227154"/>
                  <a:pt x="1076130" y="2018081"/>
                </a:cubicBezTo>
                <a:cubicBezTo>
                  <a:pt x="1070606" y="1983791"/>
                  <a:pt x="1050317" y="1985029"/>
                  <a:pt x="1025267" y="1984457"/>
                </a:cubicBezTo>
                <a:cubicBezTo>
                  <a:pt x="999740" y="1983886"/>
                  <a:pt x="984976" y="1989125"/>
                  <a:pt x="980118" y="2018938"/>
                </a:cubicBezTo>
                <a:cubicBezTo>
                  <a:pt x="941828" y="2252872"/>
                  <a:pt x="901632" y="2486520"/>
                  <a:pt x="863151" y="2720454"/>
                </a:cubicBezTo>
                <a:cubicBezTo>
                  <a:pt x="860960" y="2733980"/>
                  <a:pt x="863723" y="2753125"/>
                  <a:pt x="872009" y="2762841"/>
                </a:cubicBezTo>
                <a:cubicBezTo>
                  <a:pt x="921444" y="2820371"/>
                  <a:pt x="973165" y="2875902"/>
                  <a:pt x="1027743" y="2935910"/>
                </a:cubicBezTo>
                <a:close/>
                <a:moveTo>
                  <a:pt x="856674" y="1366380"/>
                </a:moveTo>
                <a:cubicBezTo>
                  <a:pt x="861056" y="1403051"/>
                  <a:pt x="855531" y="1435246"/>
                  <a:pt x="868961" y="1453915"/>
                </a:cubicBezTo>
                <a:cubicBezTo>
                  <a:pt x="917444" y="1521733"/>
                  <a:pt x="972212" y="1584884"/>
                  <a:pt x="1027838" y="1653845"/>
                </a:cubicBezTo>
                <a:cubicBezTo>
                  <a:pt x="1076511" y="1594123"/>
                  <a:pt x="1119469" y="1537449"/>
                  <a:pt x="1166903" y="1484871"/>
                </a:cubicBezTo>
                <a:cubicBezTo>
                  <a:pt x="1199860" y="1448390"/>
                  <a:pt x="1199384" y="1410100"/>
                  <a:pt x="1191287" y="1364570"/>
                </a:cubicBezTo>
                <a:cubicBezTo>
                  <a:pt x="1081845" y="1406099"/>
                  <a:pt x="974689" y="1401718"/>
                  <a:pt x="856674" y="1366380"/>
                </a:cubicBezTo>
                <a:close/>
                <a:moveTo>
                  <a:pt x="962402" y="1717376"/>
                </a:moveTo>
                <a:cubicBezTo>
                  <a:pt x="911919" y="1654892"/>
                  <a:pt x="864866" y="1595456"/>
                  <a:pt x="816098" y="1537449"/>
                </a:cubicBezTo>
                <a:cubicBezTo>
                  <a:pt x="809621" y="1529734"/>
                  <a:pt x="793428" y="1522781"/>
                  <a:pt x="784951" y="1525448"/>
                </a:cubicBezTo>
                <a:cubicBezTo>
                  <a:pt x="748375" y="1537259"/>
                  <a:pt x="713037" y="1552689"/>
                  <a:pt x="675413" y="1567643"/>
                </a:cubicBezTo>
                <a:cubicBezTo>
                  <a:pt x="720276" y="1657178"/>
                  <a:pt x="762281" y="1741189"/>
                  <a:pt x="806096" y="1828533"/>
                </a:cubicBezTo>
                <a:cubicBezTo>
                  <a:pt x="858960" y="1790909"/>
                  <a:pt x="907823" y="1756143"/>
                  <a:pt x="962402" y="1717376"/>
                </a:cubicBezTo>
                <a:close/>
                <a:moveTo>
                  <a:pt x="1093466" y="1717281"/>
                </a:moveTo>
                <a:cubicBezTo>
                  <a:pt x="1147091" y="1755381"/>
                  <a:pt x="1197764" y="1791290"/>
                  <a:pt x="1250152" y="1828438"/>
                </a:cubicBezTo>
                <a:cubicBezTo>
                  <a:pt x="1274345" y="1780051"/>
                  <a:pt x="1295681" y="1737760"/>
                  <a:pt x="1316732" y="1695278"/>
                </a:cubicBezTo>
                <a:cubicBezTo>
                  <a:pt x="1337687" y="1653178"/>
                  <a:pt x="1358451" y="1611077"/>
                  <a:pt x="1380263" y="1566786"/>
                </a:cubicBezTo>
                <a:cubicBezTo>
                  <a:pt x="1344354" y="1552689"/>
                  <a:pt x="1312636" y="1538021"/>
                  <a:pt x="1279489" y="1528400"/>
                </a:cubicBezTo>
                <a:cubicBezTo>
                  <a:pt x="1267868" y="1524971"/>
                  <a:pt x="1247199" y="1529353"/>
                  <a:pt x="1239865" y="1537925"/>
                </a:cubicBezTo>
                <a:cubicBezTo>
                  <a:pt x="1190621" y="1595456"/>
                  <a:pt x="1143758" y="1655083"/>
                  <a:pt x="1093466" y="1717281"/>
                </a:cubicBezTo>
                <a:close/>
                <a:moveTo>
                  <a:pt x="1112516" y="1844249"/>
                </a:moveTo>
                <a:cubicBezTo>
                  <a:pt x="1008979" y="1769954"/>
                  <a:pt x="1049841" y="1764525"/>
                  <a:pt x="931826" y="1854251"/>
                </a:cubicBezTo>
                <a:cubicBezTo>
                  <a:pt x="959639" y="1869967"/>
                  <a:pt x="981547" y="1890636"/>
                  <a:pt x="1005740" y="1893970"/>
                </a:cubicBezTo>
                <a:cubicBezTo>
                  <a:pt x="1047365" y="1899780"/>
                  <a:pt x="1096895" y="1908734"/>
                  <a:pt x="1112516" y="1844249"/>
                </a:cubicBezTo>
                <a:close/>
                <a:moveTo>
                  <a:pt x="1449224" y="937184"/>
                </a:moveTo>
                <a:cubicBezTo>
                  <a:pt x="1506279" y="922134"/>
                  <a:pt x="1532949" y="890321"/>
                  <a:pt x="1532378" y="841362"/>
                </a:cubicBezTo>
                <a:cubicBezTo>
                  <a:pt x="1531806" y="792499"/>
                  <a:pt x="1503422" y="760590"/>
                  <a:pt x="1449224" y="749255"/>
                </a:cubicBezTo>
                <a:cubicBezTo>
                  <a:pt x="1449224" y="810787"/>
                  <a:pt x="1449224" y="872033"/>
                  <a:pt x="1449224" y="937184"/>
                </a:cubicBezTo>
                <a:close/>
                <a:moveTo>
                  <a:pt x="597499" y="940422"/>
                </a:moveTo>
                <a:cubicBezTo>
                  <a:pt x="597499" y="875938"/>
                  <a:pt x="597499" y="814883"/>
                  <a:pt x="597499" y="753351"/>
                </a:cubicBezTo>
                <a:cubicBezTo>
                  <a:pt x="546921" y="763829"/>
                  <a:pt x="517203" y="794023"/>
                  <a:pt x="513965" y="836790"/>
                </a:cubicBezTo>
                <a:cubicBezTo>
                  <a:pt x="510440" y="884510"/>
                  <a:pt x="537206" y="919086"/>
                  <a:pt x="597499" y="940422"/>
                </a:cubicBez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9FA48057-7835-255A-15AD-47958382637E}"/>
              </a:ext>
            </a:extLst>
          </p:cNvPr>
          <p:cNvSpPr txBox="1"/>
          <p:nvPr/>
        </p:nvSpPr>
        <p:spPr>
          <a:xfrm>
            <a:off x="7880399" y="5467867"/>
            <a:ext cx="811119" cy="161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23898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um skills</a:t>
            </a: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1EAC4C48-4313-B464-900B-4B9905460812}"/>
              </a:ext>
            </a:extLst>
          </p:cNvPr>
          <p:cNvSpPr>
            <a:spLocks noChangeAspect="1"/>
          </p:cNvSpPr>
          <p:nvPr/>
        </p:nvSpPr>
        <p:spPr>
          <a:xfrm>
            <a:off x="9033586" y="5387819"/>
            <a:ext cx="332599" cy="332599"/>
          </a:xfrm>
          <a:prstGeom prst="ellipse">
            <a:avLst/>
          </a:prstGeom>
          <a:solidFill>
            <a:srgbClr val="2389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19108A1-483C-1315-04EE-1429272EC533}"/>
              </a:ext>
            </a:extLst>
          </p:cNvPr>
          <p:cNvSpPr txBox="1"/>
          <p:nvPr/>
        </p:nvSpPr>
        <p:spPr>
          <a:xfrm>
            <a:off x="9470442" y="5467867"/>
            <a:ext cx="578685" cy="161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23898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w skills</a:t>
            </a:r>
          </a:p>
        </p:txBody>
      </p:sp>
      <p:sp>
        <p:nvSpPr>
          <p:cNvPr id="156" name="Graphic 613">
            <a:extLst>
              <a:ext uri="{FF2B5EF4-FFF2-40B4-BE49-F238E27FC236}">
                <a16:creationId xmlns:a16="http://schemas.microsoft.com/office/drawing/2014/main" id="{B01BAB90-6FF0-3F83-4D7C-7450F5DAB993}"/>
              </a:ext>
            </a:extLst>
          </p:cNvPr>
          <p:cNvSpPr>
            <a:spLocks noChangeAspect="1"/>
          </p:cNvSpPr>
          <p:nvPr/>
        </p:nvSpPr>
        <p:spPr>
          <a:xfrm>
            <a:off x="9107918" y="5434380"/>
            <a:ext cx="183935" cy="239477"/>
          </a:xfrm>
          <a:custGeom>
            <a:avLst/>
            <a:gdLst>
              <a:gd name="connsiteX0" fmla="*/ 315284 w 2342110"/>
              <a:gd name="connsiteY0" fmla="*/ 2961272 h 3049330"/>
              <a:gd name="connsiteX1" fmla="*/ 341383 w 2342110"/>
              <a:gd name="connsiteY1" fmla="*/ 2781821 h 3049330"/>
              <a:gd name="connsiteX2" fmla="*/ 397199 w 2342110"/>
              <a:gd name="connsiteY2" fmla="*/ 2726195 h 3049330"/>
              <a:gd name="connsiteX3" fmla="*/ 430537 w 2342110"/>
              <a:gd name="connsiteY3" fmla="*/ 2796871 h 3049330"/>
              <a:gd name="connsiteX4" fmla="*/ 407486 w 2342110"/>
              <a:gd name="connsiteY4" fmla="*/ 2958510 h 3049330"/>
              <a:gd name="connsiteX5" fmla="*/ 1125957 w 2342110"/>
              <a:gd name="connsiteY5" fmla="*/ 2958510 h 3049330"/>
              <a:gd name="connsiteX6" fmla="*/ 1125957 w 2342110"/>
              <a:gd name="connsiteY6" fmla="*/ 2449113 h 3049330"/>
              <a:gd name="connsiteX7" fmla="*/ 1025278 w 2342110"/>
              <a:gd name="connsiteY7" fmla="*/ 2529694 h 3049330"/>
              <a:gd name="connsiteX8" fmla="*/ 857924 w 2342110"/>
              <a:gd name="connsiteY8" fmla="*/ 2493023 h 3049330"/>
              <a:gd name="connsiteX9" fmla="*/ 678758 w 2342110"/>
              <a:gd name="connsiteY9" fmla="*/ 2124977 h 3049330"/>
              <a:gd name="connsiteX10" fmla="*/ 267564 w 2342110"/>
              <a:gd name="connsiteY10" fmla="*/ 2312238 h 3049330"/>
              <a:gd name="connsiteX11" fmla="*/ 202699 w 2342110"/>
              <a:gd name="connsiteY11" fmla="*/ 2303761 h 3049330"/>
              <a:gd name="connsiteX12" fmla="*/ 212224 w 2342110"/>
              <a:gd name="connsiteY12" fmla="*/ 2243468 h 3049330"/>
              <a:gd name="connsiteX13" fmla="*/ 329762 w 2342110"/>
              <a:gd name="connsiteY13" fmla="*/ 2174031 h 3049330"/>
              <a:gd name="connsiteX14" fmla="*/ 619989 w 2342110"/>
              <a:gd name="connsiteY14" fmla="*/ 2056778 h 3049330"/>
              <a:gd name="connsiteX15" fmla="*/ 828587 w 2342110"/>
              <a:gd name="connsiteY15" fmla="*/ 1927333 h 3049330"/>
              <a:gd name="connsiteX16" fmla="*/ 823919 w 2342110"/>
              <a:gd name="connsiteY16" fmla="*/ 1775124 h 3049330"/>
              <a:gd name="connsiteX17" fmla="*/ 572269 w 2342110"/>
              <a:gd name="connsiteY17" fmla="*/ 1355643 h 3049330"/>
              <a:gd name="connsiteX18" fmla="*/ 546932 w 2342110"/>
              <a:gd name="connsiteY18" fmla="*/ 1324591 h 3049330"/>
              <a:gd name="connsiteX19" fmla="*/ 380340 w 2342110"/>
              <a:gd name="connsiteY19" fmla="*/ 1054081 h 3049330"/>
              <a:gd name="connsiteX20" fmla="*/ 369767 w 2342110"/>
              <a:gd name="connsiteY20" fmla="*/ 1022363 h 3049330"/>
              <a:gd name="connsiteX21" fmla="*/ 330524 w 2342110"/>
              <a:gd name="connsiteY21" fmla="*/ 862629 h 3049330"/>
              <a:gd name="connsiteX22" fmla="*/ 465875 w 2342110"/>
              <a:gd name="connsiteY22" fmla="*/ 779190 h 3049330"/>
              <a:gd name="connsiteX23" fmla="*/ 490068 w 2342110"/>
              <a:gd name="connsiteY23" fmla="*/ 776713 h 3049330"/>
              <a:gd name="connsiteX24" fmla="*/ 504451 w 2342110"/>
              <a:gd name="connsiteY24" fmla="*/ 577450 h 3049330"/>
              <a:gd name="connsiteX25" fmla="*/ 1021087 w 2342110"/>
              <a:gd name="connsiteY25" fmla="*/ 56147 h 3049330"/>
              <a:gd name="connsiteX26" fmla="*/ 1063473 w 2342110"/>
              <a:gd name="connsiteY26" fmla="*/ 36906 h 3049330"/>
              <a:gd name="connsiteX27" fmla="*/ 1313123 w 2342110"/>
              <a:gd name="connsiteY27" fmla="*/ 41478 h 3049330"/>
              <a:gd name="connsiteX28" fmla="*/ 1378179 w 2342110"/>
              <a:gd name="connsiteY28" fmla="*/ 66148 h 3049330"/>
              <a:gd name="connsiteX29" fmla="*/ 1858525 w 2342110"/>
              <a:gd name="connsiteY29" fmla="*/ 690417 h 3049330"/>
              <a:gd name="connsiteX30" fmla="*/ 1858525 w 2342110"/>
              <a:gd name="connsiteY30" fmla="*/ 773094 h 3049330"/>
              <a:gd name="connsiteX31" fmla="*/ 1892529 w 2342110"/>
              <a:gd name="connsiteY31" fmla="*/ 779571 h 3049330"/>
              <a:gd name="connsiteX32" fmla="*/ 2012354 w 2342110"/>
              <a:gd name="connsiteY32" fmla="*/ 864438 h 3049330"/>
              <a:gd name="connsiteX33" fmla="*/ 1981397 w 2342110"/>
              <a:gd name="connsiteY33" fmla="*/ 1013981 h 3049330"/>
              <a:gd name="connsiteX34" fmla="*/ 1966157 w 2342110"/>
              <a:gd name="connsiteY34" fmla="*/ 1044270 h 3049330"/>
              <a:gd name="connsiteX35" fmla="*/ 1774133 w 2342110"/>
              <a:gd name="connsiteY35" fmla="*/ 1331259 h 3049330"/>
              <a:gd name="connsiteX36" fmla="*/ 1516673 w 2342110"/>
              <a:gd name="connsiteY36" fmla="*/ 1777029 h 3049330"/>
              <a:gd name="connsiteX37" fmla="*/ 1524959 w 2342110"/>
              <a:gd name="connsiteY37" fmla="*/ 1929905 h 3049330"/>
              <a:gd name="connsiteX38" fmla="*/ 1908912 w 2342110"/>
              <a:gd name="connsiteY38" fmla="*/ 2130501 h 3049330"/>
              <a:gd name="connsiteX39" fmla="*/ 2284292 w 2342110"/>
              <a:gd name="connsiteY39" fmla="*/ 2534171 h 3049330"/>
              <a:gd name="connsiteX40" fmla="*/ 2342109 w 2342110"/>
              <a:gd name="connsiteY40" fmla="*/ 2937459 h 3049330"/>
              <a:gd name="connsiteX41" fmla="*/ 2231524 w 2342110"/>
              <a:gd name="connsiteY41" fmla="*/ 3049188 h 3049330"/>
              <a:gd name="connsiteX42" fmla="*/ 112307 w 2342110"/>
              <a:gd name="connsiteY42" fmla="*/ 3049188 h 3049330"/>
              <a:gd name="connsiteX43" fmla="*/ 7 w 2342110"/>
              <a:gd name="connsiteY43" fmla="*/ 2934602 h 3049330"/>
              <a:gd name="connsiteX44" fmla="*/ 99543 w 2342110"/>
              <a:gd name="connsiteY44" fmla="*/ 2415013 h 3049330"/>
              <a:gd name="connsiteX45" fmla="*/ 163075 w 2342110"/>
              <a:gd name="connsiteY45" fmla="*/ 2375484 h 3049330"/>
              <a:gd name="connsiteX46" fmla="*/ 183744 w 2342110"/>
              <a:gd name="connsiteY46" fmla="*/ 2447017 h 3049330"/>
              <a:gd name="connsiteX47" fmla="*/ 89637 w 2342110"/>
              <a:gd name="connsiteY47" fmla="*/ 2915171 h 3049330"/>
              <a:gd name="connsiteX48" fmla="*/ 132690 w 2342110"/>
              <a:gd name="connsiteY48" fmla="*/ 2962034 h 3049330"/>
              <a:gd name="connsiteX49" fmla="*/ 315284 w 2342110"/>
              <a:gd name="connsiteY49" fmla="*/ 2961272 h 3049330"/>
              <a:gd name="connsiteX50" fmla="*/ 649231 w 2342110"/>
              <a:gd name="connsiteY50" fmla="*/ 1051795 h 3049330"/>
              <a:gd name="connsiteX51" fmla="*/ 813347 w 2342110"/>
              <a:gd name="connsiteY51" fmla="*/ 1642345 h 3049330"/>
              <a:gd name="connsiteX52" fmla="*/ 1443616 w 2342110"/>
              <a:gd name="connsiteY52" fmla="*/ 1719593 h 3049330"/>
              <a:gd name="connsiteX53" fmla="*/ 1697933 w 2342110"/>
              <a:gd name="connsiteY53" fmla="*/ 1051795 h 3049330"/>
              <a:gd name="connsiteX54" fmla="*/ 649231 w 2342110"/>
              <a:gd name="connsiteY54" fmla="*/ 1051795 h 3049330"/>
              <a:gd name="connsiteX55" fmla="*/ 2027022 w 2342110"/>
              <a:gd name="connsiteY55" fmla="*/ 2960986 h 3049330"/>
              <a:gd name="connsiteX56" fmla="*/ 2230000 w 2342110"/>
              <a:gd name="connsiteY56" fmla="*/ 2959367 h 3049330"/>
              <a:gd name="connsiteX57" fmla="*/ 2252003 w 2342110"/>
              <a:gd name="connsiteY57" fmla="*/ 2923363 h 3049330"/>
              <a:gd name="connsiteX58" fmla="*/ 2142179 w 2342110"/>
              <a:gd name="connsiteY58" fmla="*/ 2406726 h 3049330"/>
              <a:gd name="connsiteX59" fmla="*/ 2026927 w 2342110"/>
              <a:gd name="connsiteY59" fmla="*/ 2279282 h 3049330"/>
              <a:gd name="connsiteX60" fmla="*/ 1670597 w 2342110"/>
              <a:gd name="connsiteY60" fmla="*/ 2134311 h 3049330"/>
              <a:gd name="connsiteX61" fmla="*/ 1642879 w 2342110"/>
              <a:gd name="connsiteY61" fmla="*/ 2188699 h 3049330"/>
              <a:gd name="connsiteX62" fmla="*/ 1494956 w 2342110"/>
              <a:gd name="connsiteY62" fmla="*/ 2496547 h 3049330"/>
              <a:gd name="connsiteX63" fmla="*/ 1333697 w 2342110"/>
              <a:gd name="connsiteY63" fmla="*/ 2533218 h 3049330"/>
              <a:gd name="connsiteX64" fmla="*/ 1222160 w 2342110"/>
              <a:gd name="connsiteY64" fmla="*/ 2442922 h 3049330"/>
              <a:gd name="connsiteX65" fmla="*/ 1222160 w 2342110"/>
              <a:gd name="connsiteY65" fmla="*/ 2958033 h 3049330"/>
              <a:gd name="connsiteX66" fmla="*/ 1379798 w 2342110"/>
              <a:gd name="connsiteY66" fmla="*/ 2958033 h 3049330"/>
              <a:gd name="connsiteX67" fmla="*/ 1379894 w 2342110"/>
              <a:gd name="connsiteY67" fmla="*/ 2865641 h 3049330"/>
              <a:gd name="connsiteX68" fmla="*/ 1455427 w 2342110"/>
              <a:gd name="connsiteY68" fmla="*/ 2790203 h 3049330"/>
              <a:gd name="connsiteX69" fmla="*/ 1707554 w 2342110"/>
              <a:gd name="connsiteY69" fmla="*/ 2790108 h 3049330"/>
              <a:gd name="connsiteX70" fmla="*/ 1788516 w 2342110"/>
              <a:gd name="connsiteY70" fmla="*/ 2871832 h 3049330"/>
              <a:gd name="connsiteX71" fmla="*/ 1788707 w 2342110"/>
              <a:gd name="connsiteY71" fmla="*/ 2957843 h 3049330"/>
              <a:gd name="connsiteX72" fmla="*/ 1935201 w 2342110"/>
              <a:gd name="connsiteY72" fmla="*/ 2957843 h 3049330"/>
              <a:gd name="connsiteX73" fmla="*/ 1911674 w 2342110"/>
              <a:gd name="connsiteY73" fmla="*/ 2794966 h 3049330"/>
              <a:gd name="connsiteX74" fmla="*/ 1942631 w 2342110"/>
              <a:gd name="connsiteY74" fmla="*/ 2726576 h 3049330"/>
              <a:gd name="connsiteX75" fmla="*/ 2000733 w 2342110"/>
              <a:gd name="connsiteY75" fmla="*/ 2778964 h 3049330"/>
              <a:gd name="connsiteX76" fmla="*/ 2027022 w 2342110"/>
              <a:gd name="connsiteY76" fmla="*/ 2960986 h 3049330"/>
              <a:gd name="connsiteX77" fmla="*/ 1294740 w 2342110"/>
              <a:gd name="connsiteY77" fmla="*/ 776999 h 3049330"/>
              <a:gd name="connsiteX78" fmla="*/ 1293978 w 2342110"/>
              <a:gd name="connsiteY78" fmla="*/ 181972 h 3049330"/>
              <a:gd name="connsiteX79" fmla="*/ 1186346 w 2342110"/>
              <a:gd name="connsiteY79" fmla="*/ 89389 h 3049330"/>
              <a:gd name="connsiteX80" fmla="*/ 1075760 w 2342110"/>
              <a:gd name="connsiteY80" fmla="*/ 184163 h 3049330"/>
              <a:gd name="connsiteX81" fmla="*/ 1073665 w 2342110"/>
              <a:gd name="connsiteY81" fmla="*/ 398380 h 3049330"/>
              <a:gd name="connsiteX82" fmla="*/ 1057663 w 2342110"/>
              <a:gd name="connsiteY82" fmla="*/ 450482 h 3049330"/>
              <a:gd name="connsiteX83" fmla="*/ 1016896 w 2342110"/>
              <a:gd name="connsiteY83" fmla="*/ 460483 h 3049330"/>
              <a:gd name="connsiteX84" fmla="*/ 984225 w 2342110"/>
              <a:gd name="connsiteY84" fmla="*/ 409715 h 3049330"/>
              <a:gd name="connsiteX85" fmla="*/ 982701 w 2342110"/>
              <a:gd name="connsiteY85" fmla="*/ 160065 h 3049330"/>
              <a:gd name="connsiteX86" fmla="*/ 959651 w 2342110"/>
              <a:gd name="connsiteY86" fmla="*/ 164160 h 3049330"/>
              <a:gd name="connsiteX87" fmla="*/ 585128 w 2342110"/>
              <a:gd name="connsiteY87" fmla="*/ 754329 h 3049330"/>
              <a:gd name="connsiteX88" fmla="*/ 610940 w 2342110"/>
              <a:gd name="connsiteY88" fmla="*/ 778047 h 3049330"/>
              <a:gd name="connsiteX89" fmla="*/ 982606 w 2342110"/>
              <a:gd name="connsiteY89" fmla="*/ 779094 h 3049330"/>
              <a:gd name="connsiteX90" fmla="*/ 982606 w 2342110"/>
              <a:gd name="connsiteY90" fmla="*/ 618693 h 3049330"/>
              <a:gd name="connsiteX91" fmla="*/ 1028897 w 2342110"/>
              <a:gd name="connsiteY91" fmla="*/ 554590 h 3049330"/>
              <a:gd name="connsiteX92" fmla="*/ 1074427 w 2342110"/>
              <a:gd name="connsiteY92" fmla="*/ 619551 h 3049330"/>
              <a:gd name="connsiteX93" fmla="*/ 1074427 w 2342110"/>
              <a:gd name="connsiteY93" fmla="*/ 776904 h 3049330"/>
              <a:gd name="connsiteX94" fmla="*/ 1294740 w 2342110"/>
              <a:gd name="connsiteY94" fmla="*/ 776999 h 3049330"/>
              <a:gd name="connsiteX95" fmla="*/ 1389609 w 2342110"/>
              <a:gd name="connsiteY95" fmla="*/ 779190 h 3049330"/>
              <a:gd name="connsiteX96" fmla="*/ 1742415 w 2342110"/>
              <a:gd name="connsiteY96" fmla="*/ 778999 h 3049330"/>
              <a:gd name="connsiteX97" fmla="*/ 1764132 w 2342110"/>
              <a:gd name="connsiteY97" fmla="*/ 775189 h 3049330"/>
              <a:gd name="connsiteX98" fmla="*/ 1389609 w 2342110"/>
              <a:gd name="connsiteY98" fmla="*/ 170352 h 3049330"/>
              <a:gd name="connsiteX99" fmla="*/ 1389609 w 2342110"/>
              <a:gd name="connsiteY99" fmla="*/ 779190 h 3049330"/>
              <a:gd name="connsiteX100" fmla="*/ 1171391 w 2342110"/>
              <a:gd name="connsiteY100" fmla="*/ 961403 h 3049330"/>
              <a:gd name="connsiteX101" fmla="*/ 1852143 w 2342110"/>
              <a:gd name="connsiteY101" fmla="*/ 961308 h 3049330"/>
              <a:gd name="connsiteX102" fmla="*/ 1894053 w 2342110"/>
              <a:gd name="connsiteY102" fmla="*/ 958926 h 3049330"/>
              <a:gd name="connsiteX103" fmla="*/ 1929105 w 2342110"/>
              <a:gd name="connsiteY103" fmla="*/ 911682 h 3049330"/>
              <a:gd name="connsiteX104" fmla="*/ 1889386 w 2342110"/>
              <a:gd name="connsiteY104" fmla="*/ 869106 h 3049330"/>
              <a:gd name="connsiteX105" fmla="*/ 1861382 w 2342110"/>
              <a:gd name="connsiteY105" fmla="*/ 868153 h 3049330"/>
              <a:gd name="connsiteX106" fmla="*/ 480734 w 2342110"/>
              <a:gd name="connsiteY106" fmla="*/ 868153 h 3049330"/>
              <a:gd name="connsiteX107" fmla="*/ 452730 w 2342110"/>
              <a:gd name="connsiteY107" fmla="*/ 869106 h 3049330"/>
              <a:gd name="connsiteX108" fmla="*/ 413297 w 2342110"/>
              <a:gd name="connsiteY108" fmla="*/ 911968 h 3049330"/>
              <a:gd name="connsiteX109" fmla="*/ 448634 w 2342110"/>
              <a:gd name="connsiteY109" fmla="*/ 959022 h 3049330"/>
              <a:gd name="connsiteX110" fmla="*/ 490544 w 2342110"/>
              <a:gd name="connsiteY110" fmla="*/ 961308 h 3049330"/>
              <a:gd name="connsiteX111" fmla="*/ 1171391 w 2342110"/>
              <a:gd name="connsiteY111" fmla="*/ 961403 h 3049330"/>
              <a:gd name="connsiteX112" fmla="*/ 1177106 w 2342110"/>
              <a:gd name="connsiteY112" fmla="*/ 2332622 h 3049330"/>
              <a:gd name="connsiteX113" fmla="*/ 1379608 w 2342110"/>
              <a:gd name="connsiteY113" fmla="*/ 1994770 h 3049330"/>
              <a:gd name="connsiteX114" fmla="*/ 1405516 w 2342110"/>
              <a:gd name="connsiteY114" fmla="*/ 1851419 h 3049330"/>
              <a:gd name="connsiteX115" fmla="*/ 930409 w 2342110"/>
              <a:gd name="connsiteY115" fmla="*/ 1847990 h 3049330"/>
              <a:gd name="connsiteX116" fmla="*/ 941458 w 2342110"/>
              <a:gd name="connsiteY116" fmla="*/ 1932572 h 3049330"/>
              <a:gd name="connsiteX117" fmla="*/ 1177106 w 2342110"/>
              <a:gd name="connsiteY117" fmla="*/ 2332622 h 3049330"/>
              <a:gd name="connsiteX118" fmla="*/ 761816 w 2342110"/>
              <a:gd name="connsiteY118" fmla="*/ 2088782 h 3049330"/>
              <a:gd name="connsiteX119" fmla="*/ 949459 w 2342110"/>
              <a:gd name="connsiteY119" fmla="*/ 2474640 h 3049330"/>
              <a:gd name="connsiteX120" fmla="*/ 1088810 w 2342110"/>
              <a:gd name="connsiteY120" fmla="*/ 2360816 h 3049330"/>
              <a:gd name="connsiteX121" fmla="*/ 877164 w 2342110"/>
              <a:gd name="connsiteY121" fmla="*/ 2005248 h 3049330"/>
              <a:gd name="connsiteX122" fmla="*/ 761816 w 2342110"/>
              <a:gd name="connsiteY122" fmla="*/ 2088782 h 3049330"/>
              <a:gd name="connsiteX123" fmla="*/ 1476572 w 2342110"/>
              <a:gd name="connsiteY123" fmla="*/ 2005724 h 3049330"/>
              <a:gd name="connsiteX124" fmla="*/ 1265975 w 2342110"/>
              <a:gd name="connsiteY124" fmla="*/ 2360911 h 3049330"/>
              <a:gd name="connsiteX125" fmla="*/ 1404849 w 2342110"/>
              <a:gd name="connsiteY125" fmla="*/ 2474449 h 3049330"/>
              <a:gd name="connsiteX126" fmla="*/ 1589729 w 2342110"/>
              <a:gd name="connsiteY126" fmla="*/ 2091354 h 3049330"/>
              <a:gd name="connsiteX127" fmla="*/ 1476572 w 2342110"/>
              <a:gd name="connsiteY127" fmla="*/ 2005724 h 3049330"/>
              <a:gd name="connsiteX128" fmla="*/ 1468190 w 2342110"/>
              <a:gd name="connsiteY128" fmla="*/ 2958129 h 3049330"/>
              <a:gd name="connsiteX129" fmla="*/ 1692980 w 2342110"/>
              <a:gd name="connsiteY129" fmla="*/ 2958129 h 3049330"/>
              <a:gd name="connsiteX130" fmla="*/ 1692980 w 2342110"/>
              <a:gd name="connsiteY130" fmla="*/ 2882976 h 3049330"/>
              <a:gd name="connsiteX131" fmla="*/ 1468190 w 2342110"/>
              <a:gd name="connsiteY131" fmla="*/ 2882976 h 3049330"/>
              <a:gd name="connsiteX132" fmla="*/ 1468190 w 2342110"/>
              <a:gd name="connsiteY132" fmla="*/ 2958129 h 3049330"/>
              <a:gd name="connsiteX133" fmla="*/ 1791564 w 2342110"/>
              <a:gd name="connsiteY133" fmla="*/ 1049985 h 3049330"/>
              <a:gd name="connsiteX134" fmla="*/ 1791564 w 2342110"/>
              <a:gd name="connsiteY134" fmla="*/ 1227531 h 3049330"/>
              <a:gd name="connsiteX135" fmla="*/ 1885957 w 2342110"/>
              <a:gd name="connsiteY135" fmla="*/ 1095324 h 3049330"/>
              <a:gd name="connsiteX136" fmla="*/ 1791564 w 2342110"/>
              <a:gd name="connsiteY136" fmla="*/ 1049985 h 3049330"/>
              <a:gd name="connsiteX137" fmla="*/ 551409 w 2342110"/>
              <a:gd name="connsiteY137" fmla="*/ 1040556 h 3049330"/>
              <a:gd name="connsiteX138" fmla="*/ 474638 w 2342110"/>
              <a:gd name="connsiteY138" fmla="*/ 1066749 h 3049330"/>
              <a:gd name="connsiteX139" fmla="*/ 551409 w 2342110"/>
              <a:gd name="connsiteY139" fmla="*/ 1223531 h 3049330"/>
              <a:gd name="connsiteX140" fmla="*/ 551409 w 2342110"/>
              <a:gd name="connsiteY140" fmla="*/ 1040556 h 3049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</a:cxnLst>
            <a:rect l="l" t="t" r="r" b="b"/>
            <a:pathLst>
              <a:path w="2342110" h="3049330">
                <a:moveTo>
                  <a:pt x="315284" y="2961272"/>
                </a:moveTo>
                <a:cubicBezTo>
                  <a:pt x="324619" y="2897074"/>
                  <a:pt x="332715" y="2839447"/>
                  <a:pt x="341383" y="2781821"/>
                </a:cubicBezTo>
                <a:cubicBezTo>
                  <a:pt x="346241" y="2749626"/>
                  <a:pt x="357766" y="2719147"/>
                  <a:pt x="397199" y="2726195"/>
                </a:cubicBezTo>
                <a:cubicBezTo>
                  <a:pt x="436061" y="2733148"/>
                  <a:pt x="436633" y="2763438"/>
                  <a:pt x="430537" y="2796871"/>
                </a:cubicBezTo>
                <a:cubicBezTo>
                  <a:pt x="421107" y="2849258"/>
                  <a:pt x="415297" y="2902217"/>
                  <a:pt x="407486" y="2958510"/>
                </a:cubicBezTo>
                <a:cubicBezTo>
                  <a:pt x="650660" y="2958510"/>
                  <a:pt x="886403" y="2958510"/>
                  <a:pt x="1125957" y="2958510"/>
                </a:cubicBezTo>
                <a:cubicBezTo>
                  <a:pt x="1125957" y="2790870"/>
                  <a:pt x="1125957" y="2625040"/>
                  <a:pt x="1125957" y="2449113"/>
                </a:cubicBezTo>
                <a:cubicBezTo>
                  <a:pt x="1089667" y="2478164"/>
                  <a:pt x="1057568" y="2504072"/>
                  <a:pt x="1025278" y="2529694"/>
                </a:cubicBezTo>
                <a:cubicBezTo>
                  <a:pt x="947649" y="2591416"/>
                  <a:pt x="900691" y="2581034"/>
                  <a:pt x="857924" y="2493023"/>
                </a:cubicBezTo>
                <a:cubicBezTo>
                  <a:pt x="799821" y="2373675"/>
                  <a:pt x="741814" y="2254422"/>
                  <a:pt x="678758" y="2124977"/>
                </a:cubicBezTo>
                <a:cubicBezTo>
                  <a:pt x="539408" y="2188032"/>
                  <a:pt x="402724" y="2248516"/>
                  <a:pt x="267564" y="2312238"/>
                </a:cubicBezTo>
                <a:cubicBezTo>
                  <a:pt x="240132" y="2325192"/>
                  <a:pt x="215462" y="2330336"/>
                  <a:pt x="202699" y="2303761"/>
                </a:cubicBezTo>
                <a:cubicBezTo>
                  <a:pt x="195174" y="2287950"/>
                  <a:pt x="199841" y="2253088"/>
                  <a:pt x="212224" y="2243468"/>
                </a:cubicBezTo>
                <a:cubicBezTo>
                  <a:pt x="247752" y="2215560"/>
                  <a:pt x="288043" y="2191747"/>
                  <a:pt x="329762" y="2174031"/>
                </a:cubicBezTo>
                <a:cubicBezTo>
                  <a:pt x="425774" y="2133073"/>
                  <a:pt x="526168" y="2101831"/>
                  <a:pt x="619989" y="2056778"/>
                </a:cubicBezTo>
                <a:cubicBezTo>
                  <a:pt x="693332" y="2021535"/>
                  <a:pt x="760768" y="1973244"/>
                  <a:pt x="828587" y="1927333"/>
                </a:cubicBezTo>
                <a:cubicBezTo>
                  <a:pt x="857447" y="1907807"/>
                  <a:pt x="852685" y="1797984"/>
                  <a:pt x="823919" y="1775124"/>
                </a:cubicBezTo>
                <a:cubicBezTo>
                  <a:pt x="687426" y="1666634"/>
                  <a:pt x="610750" y="1522902"/>
                  <a:pt x="572269" y="1355643"/>
                </a:cubicBezTo>
                <a:cubicBezTo>
                  <a:pt x="569507" y="1343736"/>
                  <a:pt x="557886" y="1328592"/>
                  <a:pt x="546932" y="1324591"/>
                </a:cubicBezTo>
                <a:cubicBezTo>
                  <a:pt x="404724" y="1272108"/>
                  <a:pt x="361576" y="1202481"/>
                  <a:pt x="380340" y="1054081"/>
                </a:cubicBezTo>
                <a:cubicBezTo>
                  <a:pt x="381674" y="1043889"/>
                  <a:pt x="377102" y="1028935"/>
                  <a:pt x="369767" y="1022363"/>
                </a:cubicBezTo>
                <a:cubicBezTo>
                  <a:pt x="320047" y="977595"/>
                  <a:pt x="309093" y="922731"/>
                  <a:pt x="330524" y="862629"/>
                </a:cubicBezTo>
                <a:cubicBezTo>
                  <a:pt x="352622" y="800716"/>
                  <a:pt x="402629" y="777856"/>
                  <a:pt x="465875" y="779190"/>
                </a:cubicBezTo>
                <a:cubicBezTo>
                  <a:pt x="473495" y="779380"/>
                  <a:pt x="481210" y="777666"/>
                  <a:pt x="490068" y="776713"/>
                </a:cubicBezTo>
                <a:cubicBezTo>
                  <a:pt x="494640" y="708895"/>
                  <a:pt x="493878" y="642220"/>
                  <a:pt x="504451" y="577450"/>
                </a:cubicBezTo>
                <a:cubicBezTo>
                  <a:pt x="548552" y="307512"/>
                  <a:pt x="751148" y="105486"/>
                  <a:pt x="1021087" y="56147"/>
                </a:cubicBezTo>
                <a:cubicBezTo>
                  <a:pt x="1035946" y="53480"/>
                  <a:pt x="1050519" y="45288"/>
                  <a:pt x="1063473" y="36906"/>
                </a:cubicBezTo>
                <a:cubicBezTo>
                  <a:pt x="1142626" y="-14243"/>
                  <a:pt x="1233685" y="-11766"/>
                  <a:pt x="1313123" y="41478"/>
                </a:cubicBezTo>
                <a:cubicBezTo>
                  <a:pt x="1331888" y="54051"/>
                  <a:pt x="1355795" y="60052"/>
                  <a:pt x="1378179" y="66148"/>
                </a:cubicBezTo>
                <a:cubicBezTo>
                  <a:pt x="1672692" y="146158"/>
                  <a:pt x="1857096" y="385426"/>
                  <a:pt x="1858525" y="690417"/>
                </a:cubicBezTo>
                <a:cubicBezTo>
                  <a:pt x="1858620" y="717277"/>
                  <a:pt x="1858525" y="744042"/>
                  <a:pt x="1858525" y="773094"/>
                </a:cubicBezTo>
                <a:cubicBezTo>
                  <a:pt x="1871574" y="775665"/>
                  <a:pt x="1881956" y="779190"/>
                  <a:pt x="1892529" y="779571"/>
                </a:cubicBezTo>
                <a:cubicBezTo>
                  <a:pt x="1951013" y="781952"/>
                  <a:pt x="1993399" y="809289"/>
                  <a:pt x="2012354" y="864438"/>
                </a:cubicBezTo>
                <a:cubicBezTo>
                  <a:pt x="2031118" y="918921"/>
                  <a:pt x="2023022" y="970261"/>
                  <a:pt x="1981397" y="1013981"/>
                </a:cubicBezTo>
                <a:cubicBezTo>
                  <a:pt x="1973777" y="1021982"/>
                  <a:pt x="1965205" y="1034650"/>
                  <a:pt x="1966157" y="1044270"/>
                </a:cubicBezTo>
                <a:cubicBezTo>
                  <a:pt x="1983398" y="1220864"/>
                  <a:pt x="1940249" y="1286396"/>
                  <a:pt x="1774133" y="1331259"/>
                </a:cubicBezTo>
                <a:cubicBezTo>
                  <a:pt x="1739843" y="1508900"/>
                  <a:pt x="1661167" y="1661776"/>
                  <a:pt x="1516673" y="1777029"/>
                </a:cubicBezTo>
                <a:cubicBezTo>
                  <a:pt x="1482002" y="1804651"/>
                  <a:pt x="1491717" y="1899234"/>
                  <a:pt x="1524959" y="1929905"/>
                </a:cubicBezTo>
                <a:cubicBezTo>
                  <a:pt x="1635068" y="2031441"/>
                  <a:pt x="1769561" y="2090973"/>
                  <a:pt x="1908912" y="2130501"/>
                </a:cubicBezTo>
                <a:cubicBezTo>
                  <a:pt x="2120558" y="2190414"/>
                  <a:pt x="2235143" y="2326907"/>
                  <a:pt x="2284292" y="2534171"/>
                </a:cubicBezTo>
                <a:cubicBezTo>
                  <a:pt x="2315820" y="2667235"/>
                  <a:pt x="2342300" y="2800204"/>
                  <a:pt x="2342109" y="2937459"/>
                </a:cubicBezTo>
                <a:cubicBezTo>
                  <a:pt x="2342014" y="3011945"/>
                  <a:pt x="2305533" y="3049188"/>
                  <a:pt x="2231524" y="3049188"/>
                </a:cubicBezTo>
                <a:cubicBezTo>
                  <a:pt x="1525150" y="3049378"/>
                  <a:pt x="818681" y="3049378"/>
                  <a:pt x="112307" y="3049188"/>
                </a:cubicBezTo>
                <a:cubicBezTo>
                  <a:pt x="35154" y="3049188"/>
                  <a:pt x="-565" y="3012516"/>
                  <a:pt x="7" y="2934602"/>
                </a:cubicBezTo>
                <a:cubicBezTo>
                  <a:pt x="1340" y="2755341"/>
                  <a:pt x="36011" y="2582463"/>
                  <a:pt x="99543" y="2415013"/>
                </a:cubicBezTo>
                <a:cubicBezTo>
                  <a:pt x="111354" y="2383962"/>
                  <a:pt x="129547" y="2363007"/>
                  <a:pt x="163075" y="2375484"/>
                </a:cubicBezTo>
                <a:cubicBezTo>
                  <a:pt x="197365" y="2388248"/>
                  <a:pt x="195365" y="2416442"/>
                  <a:pt x="183744" y="2447017"/>
                </a:cubicBezTo>
                <a:cubicBezTo>
                  <a:pt x="126308" y="2597703"/>
                  <a:pt x="95828" y="2753817"/>
                  <a:pt x="89637" y="2915171"/>
                </a:cubicBezTo>
                <a:cubicBezTo>
                  <a:pt x="88303" y="2950318"/>
                  <a:pt x="95447" y="2963749"/>
                  <a:pt x="132690" y="2962034"/>
                </a:cubicBezTo>
                <a:cubicBezTo>
                  <a:pt x="193079" y="2959272"/>
                  <a:pt x="253372" y="2961272"/>
                  <a:pt x="315284" y="2961272"/>
                </a:cubicBezTo>
                <a:close/>
                <a:moveTo>
                  <a:pt x="649231" y="1051795"/>
                </a:moveTo>
                <a:cubicBezTo>
                  <a:pt x="617417" y="1266393"/>
                  <a:pt x="682283" y="1496613"/>
                  <a:pt x="813347" y="1642345"/>
                </a:cubicBezTo>
                <a:cubicBezTo>
                  <a:pt x="991369" y="1840179"/>
                  <a:pt x="1243591" y="1871993"/>
                  <a:pt x="1443616" y="1719593"/>
                </a:cubicBezTo>
                <a:cubicBezTo>
                  <a:pt x="1665644" y="1550429"/>
                  <a:pt x="1711268" y="1314018"/>
                  <a:pt x="1697933" y="1051795"/>
                </a:cubicBezTo>
                <a:cubicBezTo>
                  <a:pt x="1345604" y="1051795"/>
                  <a:pt x="998513" y="1051795"/>
                  <a:pt x="649231" y="1051795"/>
                </a:cubicBezTo>
                <a:close/>
                <a:moveTo>
                  <a:pt x="2027022" y="2960986"/>
                </a:moveTo>
                <a:cubicBezTo>
                  <a:pt x="2094459" y="2960986"/>
                  <a:pt x="2162277" y="2962224"/>
                  <a:pt x="2230000" y="2959367"/>
                </a:cubicBezTo>
                <a:cubicBezTo>
                  <a:pt x="2238191" y="2958986"/>
                  <a:pt x="2252384" y="2935745"/>
                  <a:pt x="2252003" y="2923363"/>
                </a:cubicBezTo>
                <a:cubicBezTo>
                  <a:pt x="2247335" y="2744483"/>
                  <a:pt x="2211902" y="2571890"/>
                  <a:pt x="2142179" y="2406726"/>
                </a:cubicBezTo>
                <a:cubicBezTo>
                  <a:pt x="2118653" y="2351005"/>
                  <a:pt x="2083124" y="2303380"/>
                  <a:pt x="2026927" y="2279282"/>
                </a:cubicBezTo>
                <a:cubicBezTo>
                  <a:pt x="1909769" y="2229085"/>
                  <a:pt x="1790897" y="2182984"/>
                  <a:pt x="1670597" y="2134311"/>
                </a:cubicBezTo>
                <a:cubicBezTo>
                  <a:pt x="1659929" y="2155266"/>
                  <a:pt x="1650975" y="2171840"/>
                  <a:pt x="1642879" y="2188699"/>
                </a:cubicBezTo>
                <a:cubicBezTo>
                  <a:pt x="1593539" y="2291283"/>
                  <a:pt x="1544486" y="2394058"/>
                  <a:pt x="1494956" y="2496547"/>
                </a:cubicBezTo>
                <a:cubicBezTo>
                  <a:pt x="1455236" y="2578843"/>
                  <a:pt x="1404278" y="2590178"/>
                  <a:pt x="1333697" y="2533218"/>
                </a:cubicBezTo>
                <a:cubicBezTo>
                  <a:pt x="1297598" y="2504072"/>
                  <a:pt x="1261498" y="2474735"/>
                  <a:pt x="1222160" y="2442922"/>
                </a:cubicBezTo>
                <a:cubicBezTo>
                  <a:pt x="1222160" y="2619610"/>
                  <a:pt x="1222160" y="2788393"/>
                  <a:pt x="1222160" y="2958033"/>
                </a:cubicBezTo>
                <a:cubicBezTo>
                  <a:pt x="1275309" y="2958033"/>
                  <a:pt x="1325220" y="2958033"/>
                  <a:pt x="1379798" y="2958033"/>
                </a:cubicBezTo>
                <a:cubicBezTo>
                  <a:pt x="1379798" y="2925077"/>
                  <a:pt x="1379132" y="2895359"/>
                  <a:pt x="1379894" y="2865641"/>
                </a:cubicBezTo>
                <a:cubicBezTo>
                  <a:pt x="1381227" y="2812682"/>
                  <a:pt x="1402468" y="2790774"/>
                  <a:pt x="1455427" y="2790203"/>
                </a:cubicBezTo>
                <a:cubicBezTo>
                  <a:pt x="1539437" y="2789250"/>
                  <a:pt x="1623543" y="2789441"/>
                  <a:pt x="1707554" y="2790108"/>
                </a:cubicBezTo>
                <a:cubicBezTo>
                  <a:pt x="1764132" y="2790584"/>
                  <a:pt x="1786706" y="2813825"/>
                  <a:pt x="1788516" y="2871832"/>
                </a:cubicBezTo>
                <a:cubicBezTo>
                  <a:pt x="1789373" y="2899836"/>
                  <a:pt x="1788707" y="2927934"/>
                  <a:pt x="1788707" y="2957843"/>
                </a:cubicBezTo>
                <a:cubicBezTo>
                  <a:pt x="1839380" y="2957843"/>
                  <a:pt x="1884338" y="2957843"/>
                  <a:pt x="1935201" y="2957843"/>
                </a:cubicBezTo>
                <a:cubicBezTo>
                  <a:pt x="1927200" y="2900788"/>
                  <a:pt x="1921390" y="2847543"/>
                  <a:pt x="1911674" y="2794966"/>
                </a:cubicBezTo>
                <a:cubicBezTo>
                  <a:pt x="1905769" y="2762866"/>
                  <a:pt x="1907864" y="2734577"/>
                  <a:pt x="1942631" y="2726576"/>
                </a:cubicBezTo>
                <a:cubicBezTo>
                  <a:pt x="1981397" y="2717623"/>
                  <a:pt x="1995685" y="2746102"/>
                  <a:pt x="2000733" y="2778964"/>
                </a:cubicBezTo>
                <a:cubicBezTo>
                  <a:pt x="2009496" y="2836590"/>
                  <a:pt x="2017402" y="2894502"/>
                  <a:pt x="2027022" y="2960986"/>
                </a:cubicBezTo>
                <a:close/>
                <a:moveTo>
                  <a:pt x="1294740" y="776999"/>
                </a:moveTo>
                <a:cubicBezTo>
                  <a:pt x="1294740" y="575355"/>
                  <a:pt x="1295883" y="378663"/>
                  <a:pt x="1293978" y="181972"/>
                </a:cubicBezTo>
                <a:cubicBezTo>
                  <a:pt x="1293407" y="127870"/>
                  <a:pt x="1244924" y="90056"/>
                  <a:pt x="1186346" y="89389"/>
                </a:cubicBezTo>
                <a:cubicBezTo>
                  <a:pt x="1126148" y="88722"/>
                  <a:pt x="1078142" y="127299"/>
                  <a:pt x="1075760" y="184163"/>
                </a:cubicBezTo>
                <a:cubicBezTo>
                  <a:pt x="1072808" y="255505"/>
                  <a:pt x="1075570" y="327038"/>
                  <a:pt x="1073665" y="398380"/>
                </a:cubicBezTo>
                <a:cubicBezTo>
                  <a:pt x="1073189" y="416192"/>
                  <a:pt x="1068140" y="436956"/>
                  <a:pt x="1057663" y="450482"/>
                </a:cubicBezTo>
                <a:cubicBezTo>
                  <a:pt x="1050519" y="459626"/>
                  <a:pt x="1023944" y="466198"/>
                  <a:pt x="1016896" y="460483"/>
                </a:cubicBezTo>
                <a:cubicBezTo>
                  <a:pt x="1001751" y="448101"/>
                  <a:pt x="984892" y="427527"/>
                  <a:pt x="984225" y="409715"/>
                </a:cubicBezTo>
                <a:cubicBezTo>
                  <a:pt x="980796" y="327609"/>
                  <a:pt x="982701" y="245218"/>
                  <a:pt x="982701" y="160065"/>
                </a:cubicBezTo>
                <a:cubicBezTo>
                  <a:pt x="974224" y="161493"/>
                  <a:pt x="966604" y="161779"/>
                  <a:pt x="959651" y="164160"/>
                </a:cubicBezTo>
                <a:cubicBezTo>
                  <a:pt x="708953" y="249314"/>
                  <a:pt x="564554" y="479819"/>
                  <a:pt x="585128" y="754329"/>
                </a:cubicBezTo>
                <a:cubicBezTo>
                  <a:pt x="585794" y="763188"/>
                  <a:pt x="601892" y="777951"/>
                  <a:pt x="610940" y="778047"/>
                </a:cubicBezTo>
                <a:cubicBezTo>
                  <a:pt x="732765" y="779666"/>
                  <a:pt x="854590" y="779094"/>
                  <a:pt x="982606" y="779094"/>
                </a:cubicBezTo>
                <a:cubicBezTo>
                  <a:pt x="982606" y="722421"/>
                  <a:pt x="982606" y="670605"/>
                  <a:pt x="982606" y="618693"/>
                </a:cubicBezTo>
                <a:cubicBezTo>
                  <a:pt x="982606" y="586023"/>
                  <a:pt x="989083" y="554209"/>
                  <a:pt x="1028897" y="554590"/>
                </a:cubicBezTo>
                <a:cubicBezTo>
                  <a:pt x="1068521" y="554971"/>
                  <a:pt x="1074427" y="586975"/>
                  <a:pt x="1074427" y="619551"/>
                </a:cubicBezTo>
                <a:cubicBezTo>
                  <a:pt x="1074332" y="671271"/>
                  <a:pt x="1074427" y="722992"/>
                  <a:pt x="1074427" y="776904"/>
                </a:cubicBezTo>
                <a:cubicBezTo>
                  <a:pt x="1150436" y="776999"/>
                  <a:pt x="1219588" y="776999"/>
                  <a:pt x="1294740" y="776999"/>
                </a:cubicBezTo>
                <a:close/>
                <a:moveTo>
                  <a:pt x="1389609" y="779190"/>
                </a:moveTo>
                <a:cubicBezTo>
                  <a:pt x="1511529" y="779190"/>
                  <a:pt x="1626972" y="779285"/>
                  <a:pt x="1742415" y="778999"/>
                </a:cubicBezTo>
                <a:cubicBezTo>
                  <a:pt x="1749940" y="778999"/>
                  <a:pt x="1757465" y="776427"/>
                  <a:pt x="1764132" y="775189"/>
                </a:cubicBezTo>
                <a:cubicBezTo>
                  <a:pt x="1809662" y="510108"/>
                  <a:pt x="1604017" y="180258"/>
                  <a:pt x="1389609" y="170352"/>
                </a:cubicBezTo>
                <a:cubicBezTo>
                  <a:pt x="1389609" y="371234"/>
                  <a:pt x="1389609" y="572021"/>
                  <a:pt x="1389609" y="779190"/>
                </a:cubicBezTo>
                <a:close/>
                <a:moveTo>
                  <a:pt x="1171391" y="961403"/>
                </a:moveTo>
                <a:cubicBezTo>
                  <a:pt x="1398277" y="961403"/>
                  <a:pt x="1625258" y="961403"/>
                  <a:pt x="1852143" y="961308"/>
                </a:cubicBezTo>
                <a:cubicBezTo>
                  <a:pt x="1866431" y="961308"/>
                  <a:pt x="1884719" y="965975"/>
                  <a:pt x="1894053" y="958926"/>
                </a:cubicBezTo>
                <a:cubicBezTo>
                  <a:pt x="1909769" y="947115"/>
                  <a:pt x="1929677" y="927399"/>
                  <a:pt x="1929105" y="911682"/>
                </a:cubicBezTo>
                <a:cubicBezTo>
                  <a:pt x="1928534" y="896823"/>
                  <a:pt x="1905102" y="881298"/>
                  <a:pt x="1889386" y="869106"/>
                </a:cubicBezTo>
                <a:cubicBezTo>
                  <a:pt x="1883385" y="864438"/>
                  <a:pt x="1870907" y="868153"/>
                  <a:pt x="1861382" y="868153"/>
                </a:cubicBezTo>
                <a:cubicBezTo>
                  <a:pt x="1401134" y="868153"/>
                  <a:pt x="940982" y="868153"/>
                  <a:pt x="480734" y="868153"/>
                </a:cubicBezTo>
                <a:cubicBezTo>
                  <a:pt x="471209" y="868153"/>
                  <a:pt x="458636" y="864438"/>
                  <a:pt x="452730" y="869106"/>
                </a:cubicBezTo>
                <a:cubicBezTo>
                  <a:pt x="437109" y="881393"/>
                  <a:pt x="413773" y="897014"/>
                  <a:pt x="413297" y="911968"/>
                </a:cubicBezTo>
                <a:cubicBezTo>
                  <a:pt x="412820" y="927684"/>
                  <a:pt x="432918" y="947306"/>
                  <a:pt x="448634" y="959022"/>
                </a:cubicBezTo>
                <a:cubicBezTo>
                  <a:pt x="457969" y="965975"/>
                  <a:pt x="476257" y="961308"/>
                  <a:pt x="490544" y="961308"/>
                </a:cubicBezTo>
                <a:cubicBezTo>
                  <a:pt x="717525" y="961403"/>
                  <a:pt x="944506" y="961403"/>
                  <a:pt x="1171391" y="961403"/>
                </a:cubicBezTo>
                <a:close/>
                <a:moveTo>
                  <a:pt x="1177106" y="2332622"/>
                </a:moveTo>
                <a:cubicBezTo>
                  <a:pt x="1247687" y="2214226"/>
                  <a:pt x="1311504" y="2103165"/>
                  <a:pt x="1379608" y="1994770"/>
                </a:cubicBezTo>
                <a:cubicBezTo>
                  <a:pt x="1407707" y="1950098"/>
                  <a:pt x="1415136" y="1905426"/>
                  <a:pt x="1405516" y="1851419"/>
                </a:cubicBezTo>
                <a:cubicBezTo>
                  <a:pt x="1249115" y="1923618"/>
                  <a:pt x="1092905" y="1923523"/>
                  <a:pt x="930409" y="1847990"/>
                </a:cubicBezTo>
                <a:cubicBezTo>
                  <a:pt x="934219" y="1881327"/>
                  <a:pt x="929552" y="1911617"/>
                  <a:pt x="941458" y="1932572"/>
                </a:cubicBezTo>
                <a:cubicBezTo>
                  <a:pt x="1016515" y="2064684"/>
                  <a:pt x="1095191" y="2194700"/>
                  <a:pt x="1177106" y="2332622"/>
                </a:cubicBezTo>
                <a:close/>
                <a:moveTo>
                  <a:pt x="761816" y="2088782"/>
                </a:moveTo>
                <a:cubicBezTo>
                  <a:pt x="825348" y="2219370"/>
                  <a:pt x="886022" y="2344242"/>
                  <a:pt x="949459" y="2474640"/>
                </a:cubicBezTo>
                <a:cubicBezTo>
                  <a:pt x="997846" y="2435111"/>
                  <a:pt x="1042613" y="2398535"/>
                  <a:pt x="1088810" y="2360816"/>
                </a:cubicBezTo>
                <a:cubicBezTo>
                  <a:pt x="1017277" y="2240611"/>
                  <a:pt x="948125" y="2124405"/>
                  <a:pt x="877164" y="2005248"/>
                </a:cubicBezTo>
                <a:cubicBezTo>
                  <a:pt x="836111" y="2035061"/>
                  <a:pt x="800488" y="2060778"/>
                  <a:pt x="761816" y="2088782"/>
                </a:cubicBezTo>
                <a:close/>
                <a:moveTo>
                  <a:pt x="1476572" y="2005724"/>
                </a:moveTo>
                <a:cubicBezTo>
                  <a:pt x="1404659" y="2126977"/>
                  <a:pt x="1335888" y="2242992"/>
                  <a:pt x="1265975" y="2360911"/>
                </a:cubicBezTo>
                <a:cubicBezTo>
                  <a:pt x="1312933" y="2399297"/>
                  <a:pt x="1356653" y="2435016"/>
                  <a:pt x="1404849" y="2474449"/>
                </a:cubicBezTo>
                <a:cubicBezTo>
                  <a:pt x="1467714" y="2344242"/>
                  <a:pt x="1528293" y="2218608"/>
                  <a:pt x="1589729" y="2091354"/>
                </a:cubicBezTo>
                <a:cubicBezTo>
                  <a:pt x="1552391" y="2063160"/>
                  <a:pt x="1517339" y="2036585"/>
                  <a:pt x="1476572" y="2005724"/>
                </a:cubicBezTo>
                <a:close/>
                <a:moveTo>
                  <a:pt x="1468190" y="2958129"/>
                </a:moveTo>
                <a:cubicBezTo>
                  <a:pt x="1545914" y="2958129"/>
                  <a:pt x="1619352" y="2958129"/>
                  <a:pt x="1692980" y="2958129"/>
                </a:cubicBezTo>
                <a:cubicBezTo>
                  <a:pt x="1692980" y="2930697"/>
                  <a:pt x="1692980" y="2906503"/>
                  <a:pt x="1692980" y="2882976"/>
                </a:cubicBezTo>
                <a:cubicBezTo>
                  <a:pt x="1615733" y="2882976"/>
                  <a:pt x="1542485" y="2882976"/>
                  <a:pt x="1468190" y="2882976"/>
                </a:cubicBezTo>
                <a:cubicBezTo>
                  <a:pt x="1468190" y="2908884"/>
                  <a:pt x="1468190" y="2930887"/>
                  <a:pt x="1468190" y="2958129"/>
                </a:cubicBezTo>
                <a:close/>
                <a:moveTo>
                  <a:pt x="1791564" y="1049985"/>
                </a:moveTo>
                <a:cubicBezTo>
                  <a:pt x="1791564" y="1111993"/>
                  <a:pt x="1791564" y="1169429"/>
                  <a:pt x="1791564" y="1227531"/>
                </a:cubicBezTo>
                <a:cubicBezTo>
                  <a:pt x="1857382" y="1213244"/>
                  <a:pt x="1892719" y="1160475"/>
                  <a:pt x="1885957" y="1095324"/>
                </a:cubicBezTo>
                <a:cubicBezTo>
                  <a:pt x="1879385" y="1031602"/>
                  <a:pt x="1833569" y="1052081"/>
                  <a:pt x="1791564" y="1049985"/>
                </a:cubicBezTo>
                <a:close/>
                <a:moveTo>
                  <a:pt x="551409" y="1040556"/>
                </a:moveTo>
                <a:cubicBezTo>
                  <a:pt x="519977" y="1050462"/>
                  <a:pt x="486353" y="1050652"/>
                  <a:pt x="474638" y="1066749"/>
                </a:cubicBezTo>
                <a:cubicBezTo>
                  <a:pt x="435014" y="1120756"/>
                  <a:pt x="482353" y="1212006"/>
                  <a:pt x="551409" y="1223531"/>
                </a:cubicBezTo>
                <a:cubicBezTo>
                  <a:pt x="551409" y="1167333"/>
                  <a:pt x="551409" y="1111041"/>
                  <a:pt x="551409" y="1040556"/>
                </a:cubicBezTo>
                <a:close/>
              </a:path>
            </a:pathLst>
          </a:custGeom>
          <a:solidFill>
            <a:schemeClr val="bg1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2" descr="Construction worker male outline">
            <a:extLst>
              <a:ext uri="{FF2B5EF4-FFF2-40B4-BE49-F238E27FC236}">
                <a16:creationId xmlns:a16="http://schemas.microsoft.com/office/drawing/2014/main" id="{D1DD544A-0227-F06B-B08D-6CB89817F5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5190" y="4878903"/>
            <a:ext cx="388568" cy="38856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3877DCDD-AE6E-546A-40BA-2730E280E70B}"/>
              </a:ext>
            </a:extLst>
          </p:cNvPr>
          <p:cNvSpPr/>
          <p:nvPr/>
        </p:nvSpPr>
        <p:spPr>
          <a:xfrm flipH="1">
            <a:off x="862812" y="2125006"/>
            <a:ext cx="550730" cy="510920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rtl="1">
              <a:defRPr/>
            </a:pPr>
            <a:endParaRPr lang="en-US" sz="7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C7CD657-ACDB-9E8B-82CB-A4933C4BECBD}"/>
              </a:ext>
            </a:extLst>
          </p:cNvPr>
          <p:cNvGrpSpPr/>
          <p:nvPr/>
        </p:nvGrpSpPr>
        <p:grpSpPr>
          <a:xfrm>
            <a:off x="994883" y="2205545"/>
            <a:ext cx="269494" cy="267119"/>
            <a:chOff x="2676525" y="2889250"/>
            <a:chExt cx="360363" cy="357188"/>
          </a:xfrm>
          <a:solidFill>
            <a:srgbClr val="FFFFFF"/>
          </a:solidFill>
        </p:grpSpPr>
        <p:sp>
          <p:nvSpPr>
            <p:cNvPr id="7" name="Freeform 44">
              <a:extLst>
                <a:ext uri="{FF2B5EF4-FFF2-40B4-BE49-F238E27FC236}">
                  <a16:creationId xmlns:a16="http://schemas.microsoft.com/office/drawing/2014/main" id="{DD1B31E3-3B20-CB7E-17A9-80321D39B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4463" y="3089275"/>
              <a:ext cx="152400" cy="152400"/>
            </a:xfrm>
            <a:custGeom>
              <a:avLst/>
              <a:gdLst>
                <a:gd name="T0" fmla="*/ 133 w 670"/>
                <a:gd name="T1" fmla="*/ 669 h 669"/>
                <a:gd name="T2" fmla="*/ 133 w 670"/>
                <a:gd name="T3" fmla="*/ 669 h 669"/>
                <a:gd name="T4" fmla="*/ 106 w 670"/>
                <a:gd name="T5" fmla="*/ 667 h 669"/>
                <a:gd name="T6" fmla="*/ 82 w 670"/>
                <a:gd name="T7" fmla="*/ 659 h 669"/>
                <a:gd name="T8" fmla="*/ 59 w 670"/>
                <a:gd name="T9" fmla="*/ 648 h 669"/>
                <a:gd name="T10" fmla="*/ 38 w 670"/>
                <a:gd name="T11" fmla="*/ 630 h 669"/>
                <a:gd name="T12" fmla="*/ 30 w 670"/>
                <a:gd name="T13" fmla="*/ 621 h 669"/>
                <a:gd name="T14" fmla="*/ 16 w 670"/>
                <a:gd name="T15" fmla="*/ 599 h 669"/>
                <a:gd name="T16" fmla="*/ 5 w 670"/>
                <a:gd name="T17" fmla="*/ 575 h 669"/>
                <a:gd name="T18" fmla="*/ 1 w 670"/>
                <a:gd name="T19" fmla="*/ 550 h 669"/>
                <a:gd name="T20" fmla="*/ 0 w 670"/>
                <a:gd name="T21" fmla="*/ 537 h 669"/>
                <a:gd name="T22" fmla="*/ 2 w 670"/>
                <a:gd name="T23" fmla="*/ 511 h 669"/>
                <a:gd name="T24" fmla="*/ 11 w 670"/>
                <a:gd name="T25" fmla="*/ 486 h 669"/>
                <a:gd name="T26" fmla="*/ 22 w 670"/>
                <a:gd name="T27" fmla="*/ 463 h 669"/>
                <a:gd name="T28" fmla="*/ 38 w 670"/>
                <a:gd name="T29" fmla="*/ 444 h 669"/>
                <a:gd name="T30" fmla="*/ 473 w 670"/>
                <a:gd name="T31" fmla="*/ 9 h 669"/>
                <a:gd name="T32" fmla="*/ 485 w 670"/>
                <a:gd name="T33" fmla="*/ 2 h 669"/>
                <a:gd name="T34" fmla="*/ 497 w 670"/>
                <a:gd name="T35" fmla="*/ 0 h 669"/>
                <a:gd name="T36" fmla="*/ 509 w 670"/>
                <a:gd name="T37" fmla="*/ 2 h 669"/>
                <a:gd name="T38" fmla="*/ 520 w 670"/>
                <a:gd name="T39" fmla="*/ 9 h 669"/>
                <a:gd name="T40" fmla="*/ 660 w 670"/>
                <a:gd name="T41" fmla="*/ 149 h 669"/>
                <a:gd name="T42" fmla="*/ 668 w 670"/>
                <a:gd name="T43" fmla="*/ 160 h 669"/>
                <a:gd name="T44" fmla="*/ 670 w 670"/>
                <a:gd name="T45" fmla="*/ 173 h 669"/>
                <a:gd name="T46" fmla="*/ 668 w 670"/>
                <a:gd name="T47" fmla="*/ 185 h 669"/>
                <a:gd name="T48" fmla="*/ 660 w 670"/>
                <a:gd name="T49" fmla="*/ 197 h 669"/>
                <a:gd name="T50" fmla="*/ 226 w 670"/>
                <a:gd name="T51" fmla="*/ 630 h 669"/>
                <a:gd name="T52" fmla="*/ 206 w 670"/>
                <a:gd name="T53" fmla="*/ 648 h 669"/>
                <a:gd name="T54" fmla="*/ 183 w 670"/>
                <a:gd name="T55" fmla="*/ 659 h 669"/>
                <a:gd name="T56" fmla="*/ 159 w 670"/>
                <a:gd name="T57" fmla="*/ 667 h 669"/>
                <a:gd name="T58" fmla="*/ 133 w 670"/>
                <a:gd name="T59" fmla="*/ 669 h 669"/>
                <a:gd name="T60" fmla="*/ 497 w 670"/>
                <a:gd name="T61" fmla="*/ 80 h 669"/>
                <a:gd name="T62" fmla="*/ 86 w 670"/>
                <a:gd name="T63" fmla="*/ 490 h 669"/>
                <a:gd name="T64" fmla="*/ 78 w 670"/>
                <a:gd name="T65" fmla="*/ 501 h 669"/>
                <a:gd name="T66" fmla="*/ 72 w 670"/>
                <a:gd name="T67" fmla="*/ 512 h 669"/>
                <a:gd name="T68" fmla="*/ 67 w 670"/>
                <a:gd name="T69" fmla="*/ 524 h 669"/>
                <a:gd name="T70" fmla="*/ 66 w 670"/>
                <a:gd name="T71" fmla="*/ 537 h 669"/>
                <a:gd name="T72" fmla="*/ 66 w 670"/>
                <a:gd name="T73" fmla="*/ 544 h 669"/>
                <a:gd name="T74" fmla="*/ 70 w 670"/>
                <a:gd name="T75" fmla="*/ 557 h 669"/>
                <a:gd name="T76" fmla="*/ 74 w 670"/>
                <a:gd name="T77" fmla="*/ 568 h 669"/>
                <a:gd name="T78" fmla="*/ 81 w 670"/>
                <a:gd name="T79" fmla="*/ 579 h 669"/>
                <a:gd name="T80" fmla="*/ 85 w 670"/>
                <a:gd name="T81" fmla="*/ 583 h 669"/>
                <a:gd name="T82" fmla="*/ 95 w 670"/>
                <a:gd name="T83" fmla="*/ 592 h 669"/>
                <a:gd name="T84" fmla="*/ 107 w 670"/>
                <a:gd name="T85" fmla="*/ 598 h 669"/>
                <a:gd name="T86" fmla="*/ 119 w 670"/>
                <a:gd name="T87" fmla="*/ 602 h 669"/>
                <a:gd name="T88" fmla="*/ 133 w 670"/>
                <a:gd name="T89" fmla="*/ 603 h 669"/>
                <a:gd name="T90" fmla="*/ 133 w 670"/>
                <a:gd name="T91" fmla="*/ 603 h 669"/>
                <a:gd name="T92" fmla="*/ 139 w 670"/>
                <a:gd name="T93" fmla="*/ 603 h 669"/>
                <a:gd name="T94" fmla="*/ 151 w 670"/>
                <a:gd name="T95" fmla="*/ 600 h 669"/>
                <a:gd name="T96" fmla="*/ 164 w 670"/>
                <a:gd name="T97" fmla="*/ 596 h 669"/>
                <a:gd name="T98" fmla="*/ 174 w 670"/>
                <a:gd name="T99" fmla="*/ 589 h 669"/>
                <a:gd name="T100" fmla="*/ 179 w 670"/>
                <a:gd name="T101" fmla="*/ 583 h 669"/>
                <a:gd name="T102" fmla="*/ 590 w 670"/>
                <a:gd name="T103" fmla="*/ 173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0" h="669">
                  <a:moveTo>
                    <a:pt x="133" y="669"/>
                  </a:moveTo>
                  <a:lnTo>
                    <a:pt x="133" y="669"/>
                  </a:lnTo>
                  <a:lnTo>
                    <a:pt x="133" y="669"/>
                  </a:lnTo>
                  <a:lnTo>
                    <a:pt x="133" y="669"/>
                  </a:lnTo>
                  <a:lnTo>
                    <a:pt x="119" y="668"/>
                  </a:lnTo>
                  <a:lnTo>
                    <a:pt x="106" y="667"/>
                  </a:lnTo>
                  <a:lnTo>
                    <a:pt x="93" y="663"/>
                  </a:lnTo>
                  <a:lnTo>
                    <a:pt x="82" y="659"/>
                  </a:lnTo>
                  <a:lnTo>
                    <a:pt x="70" y="654"/>
                  </a:lnTo>
                  <a:lnTo>
                    <a:pt x="59" y="648"/>
                  </a:lnTo>
                  <a:lnTo>
                    <a:pt x="49" y="639"/>
                  </a:lnTo>
                  <a:lnTo>
                    <a:pt x="38" y="630"/>
                  </a:lnTo>
                  <a:lnTo>
                    <a:pt x="38" y="630"/>
                  </a:lnTo>
                  <a:lnTo>
                    <a:pt x="30" y="621"/>
                  </a:lnTo>
                  <a:lnTo>
                    <a:pt x="22" y="610"/>
                  </a:lnTo>
                  <a:lnTo>
                    <a:pt x="16" y="599"/>
                  </a:lnTo>
                  <a:lnTo>
                    <a:pt x="11" y="588"/>
                  </a:lnTo>
                  <a:lnTo>
                    <a:pt x="5" y="575"/>
                  </a:lnTo>
                  <a:lnTo>
                    <a:pt x="2" y="563"/>
                  </a:lnTo>
                  <a:lnTo>
                    <a:pt x="1" y="550"/>
                  </a:lnTo>
                  <a:lnTo>
                    <a:pt x="0" y="537"/>
                  </a:lnTo>
                  <a:lnTo>
                    <a:pt x="0" y="537"/>
                  </a:lnTo>
                  <a:lnTo>
                    <a:pt x="1" y="524"/>
                  </a:lnTo>
                  <a:lnTo>
                    <a:pt x="2" y="511"/>
                  </a:lnTo>
                  <a:lnTo>
                    <a:pt x="5" y="499"/>
                  </a:lnTo>
                  <a:lnTo>
                    <a:pt x="11" y="486"/>
                  </a:lnTo>
                  <a:lnTo>
                    <a:pt x="16" y="475"/>
                  </a:lnTo>
                  <a:lnTo>
                    <a:pt x="22" y="463"/>
                  </a:lnTo>
                  <a:lnTo>
                    <a:pt x="30" y="453"/>
                  </a:lnTo>
                  <a:lnTo>
                    <a:pt x="38" y="444"/>
                  </a:lnTo>
                  <a:lnTo>
                    <a:pt x="473" y="9"/>
                  </a:lnTo>
                  <a:lnTo>
                    <a:pt x="473" y="9"/>
                  </a:lnTo>
                  <a:lnTo>
                    <a:pt x="478" y="5"/>
                  </a:lnTo>
                  <a:lnTo>
                    <a:pt x="485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2"/>
                  </a:lnTo>
                  <a:lnTo>
                    <a:pt x="515" y="5"/>
                  </a:lnTo>
                  <a:lnTo>
                    <a:pt x="520" y="9"/>
                  </a:lnTo>
                  <a:lnTo>
                    <a:pt x="660" y="149"/>
                  </a:lnTo>
                  <a:lnTo>
                    <a:pt x="660" y="149"/>
                  </a:lnTo>
                  <a:lnTo>
                    <a:pt x="665" y="154"/>
                  </a:lnTo>
                  <a:lnTo>
                    <a:pt x="668" y="160"/>
                  </a:lnTo>
                  <a:lnTo>
                    <a:pt x="670" y="167"/>
                  </a:lnTo>
                  <a:lnTo>
                    <a:pt x="670" y="173"/>
                  </a:lnTo>
                  <a:lnTo>
                    <a:pt x="670" y="179"/>
                  </a:lnTo>
                  <a:lnTo>
                    <a:pt x="668" y="185"/>
                  </a:lnTo>
                  <a:lnTo>
                    <a:pt x="665" y="191"/>
                  </a:lnTo>
                  <a:lnTo>
                    <a:pt x="660" y="197"/>
                  </a:lnTo>
                  <a:lnTo>
                    <a:pt x="226" y="630"/>
                  </a:lnTo>
                  <a:lnTo>
                    <a:pt x="226" y="630"/>
                  </a:lnTo>
                  <a:lnTo>
                    <a:pt x="216" y="639"/>
                  </a:lnTo>
                  <a:lnTo>
                    <a:pt x="206" y="648"/>
                  </a:lnTo>
                  <a:lnTo>
                    <a:pt x="195" y="654"/>
                  </a:lnTo>
                  <a:lnTo>
                    <a:pt x="183" y="659"/>
                  </a:lnTo>
                  <a:lnTo>
                    <a:pt x="171" y="664"/>
                  </a:lnTo>
                  <a:lnTo>
                    <a:pt x="159" y="667"/>
                  </a:lnTo>
                  <a:lnTo>
                    <a:pt x="145" y="668"/>
                  </a:lnTo>
                  <a:lnTo>
                    <a:pt x="133" y="669"/>
                  </a:lnTo>
                  <a:lnTo>
                    <a:pt x="133" y="669"/>
                  </a:lnTo>
                  <a:close/>
                  <a:moveTo>
                    <a:pt x="497" y="80"/>
                  </a:moveTo>
                  <a:lnTo>
                    <a:pt x="86" y="490"/>
                  </a:lnTo>
                  <a:lnTo>
                    <a:pt x="86" y="490"/>
                  </a:lnTo>
                  <a:lnTo>
                    <a:pt x="81" y="496"/>
                  </a:lnTo>
                  <a:lnTo>
                    <a:pt x="78" y="501"/>
                  </a:lnTo>
                  <a:lnTo>
                    <a:pt x="74" y="506"/>
                  </a:lnTo>
                  <a:lnTo>
                    <a:pt x="72" y="512"/>
                  </a:lnTo>
                  <a:lnTo>
                    <a:pt x="70" y="518"/>
                  </a:lnTo>
                  <a:lnTo>
                    <a:pt x="67" y="524"/>
                  </a:lnTo>
                  <a:lnTo>
                    <a:pt x="66" y="531"/>
                  </a:lnTo>
                  <a:lnTo>
                    <a:pt x="66" y="537"/>
                  </a:lnTo>
                  <a:lnTo>
                    <a:pt x="66" y="537"/>
                  </a:lnTo>
                  <a:lnTo>
                    <a:pt x="66" y="544"/>
                  </a:lnTo>
                  <a:lnTo>
                    <a:pt x="67" y="550"/>
                  </a:lnTo>
                  <a:lnTo>
                    <a:pt x="70" y="557"/>
                  </a:lnTo>
                  <a:lnTo>
                    <a:pt x="72" y="563"/>
                  </a:lnTo>
                  <a:lnTo>
                    <a:pt x="74" y="568"/>
                  </a:lnTo>
                  <a:lnTo>
                    <a:pt x="77" y="574"/>
                  </a:lnTo>
                  <a:lnTo>
                    <a:pt x="81" y="579"/>
                  </a:lnTo>
                  <a:lnTo>
                    <a:pt x="85" y="583"/>
                  </a:lnTo>
                  <a:lnTo>
                    <a:pt x="85" y="583"/>
                  </a:lnTo>
                  <a:lnTo>
                    <a:pt x="90" y="589"/>
                  </a:lnTo>
                  <a:lnTo>
                    <a:pt x="95" y="592"/>
                  </a:lnTo>
                  <a:lnTo>
                    <a:pt x="102" y="596"/>
                  </a:lnTo>
                  <a:lnTo>
                    <a:pt x="107" y="598"/>
                  </a:lnTo>
                  <a:lnTo>
                    <a:pt x="113" y="600"/>
                  </a:lnTo>
                  <a:lnTo>
                    <a:pt x="119" y="602"/>
                  </a:lnTo>
                  <a:lnTo>
                    <a:pt x="125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9" y="603"/>
                  </a:lnTo>
                  <a:lnTo>
                    <a:pt x="145" y="602"/>
                  </a:lnTo>
                  <a:lnTo>
                    <a:pt x="151" y="600"/>
                  </a:lnTo>
                  <a:lnTo>
                    <a:pt x="157" y="598"/>
                  </a:lnTo>
                  <a:lnTo>
                    <a:pt x="164" y="596"/>
                  </a:lnTo>
                  <a:lnTo>
                    <a:pt x="169" y="592"/>
                  </a:lnTo>
                  <a:lnTo>
                    <a:pt x="174" y="589"/>
                  </a:lnTo>
                  <a:lnTo>
                    <a:pt x="179" y="583"/>
                  </a:lnTo>
                  <a:lnTo>
                    <a:pt x="179" y="583"/>
                  </a:lnTo>
                  <a:lnTo>
                    <a:pt x="179" y="583"/>
                  </a:lnTo>
                  <a:lnTo>
                    <a:pt x="590" y="173"/>
                  </a:lnTo>
                  <a:lnTo>
                    <a:pt x="497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45">
              <a:extLst>
                <a:ext uri="{FF2B5EF4-FFF2-40B4-BE49-F238E27FC236}">
                  <a16:creationId xmlns:a16="http://schemas.microsoft.com/office/drawing/2014/main" id="{AF5A848F-E720-EE3F-DD25-8632F009D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363" y="3073400"/>
              <a:ext cx="79375" cy="79375"/>
            </a:xfrm>
            <a:custGeom>
              <a:avLst/>
              <a:gdLst>
                <a:gd name="T0" fmla="*/ 314 w 347"/>
                <a:gd name="T1" fmla="*/ 346 h 346"/>
                <a:gd name="T2" fmla="*/ 314 w 347"/>
                <a:gd name="T3" fmla="*/ 346 h 346"/>
                <a:gd name="T4" fmla="*/ 308 w 347"/>
                <a:gd name="T5" fmla="*/ 345 h 346"/>
                <a:gd name="T6" fmla="*/ 302 w 347"/>
                <a:gd name="T7" fmla="*/ 343 h 346"/>
                <a:gd name="T8" fmla="*/ 296 w 347"/>
                <a:gd name="T9" fmla="*/ 340 h 346"/>
                <a:gd name="T10" fmla="*/ 290 w 347"/>
                <a:gd name="T11" fmla="*/ 336 h 346"/>
                <a:gd name="T12" fmla="*/ 11 w 347"/>
                <a:gd name="T13" fmla="*/ 56 h 346"/>
                <a:gd name="T14" fmla="*/ 11 w 347"/>
                <a:gd name="T15" fmla="*/ 56 h 346"/>
                <a:gd name="T16" fmla="*/ 6 w 347"/>
                <a:gd name="T17" fmla="*/ 51 h 346"/>
                <a:gd name="T18" fmla="*/ 4 w 347"/>
                <a:gd name="T19" fmla="*/ 45 h 346"/>
                <a:gd name="T20" fmla="*/ 1 w 347"/>
                <a:gd name="T21" fmla="*/ 39 h 346"/>
                <a:gd name="T22" fmla="*/ 0 w 347"/>
                <a:gd name="T23" fmla="*/ 33 h 346"/>
                <a:gd name="T24" fmla="*/ 1 w 347"/>
                <a:gd name="T25" fmla="*/ 27 h 346"/>
                <a:gd name="T26" fmla="*/ 4 w 347"/>
                <a:gd name="T27" fmla="*/ 21 h 346"/>
                <a:gd name="T28" fmla="*/ 6 w 347"/>
                <a:gd name="T29" fmla="*/ 14 h 346"/>
                <a:gd name="T30" fmla="*/ 11 w 347"/>
                <a:gd name="T31" fmla="*/ 9 h 346"/>
                <a:gd name="T32" fmla="*/ 11 w 347"/>
                <a:gd name="T33" fmla="*/ 9 h 346"/>
                <a:gd name="T34" fmla="*/ 16 w 347"/>
                <a:gd name="T35" fmla="*/ 5 h 346"/>
                <a:gd name="T36" fmla="*/ 21 w 347"/>
                <a:gd name="T37" fmla="*/ 2 h 346"/>
                <a:gd name="T38" fmla="*/ 27 w 347"/>
                <a:gd name="T39" fmla="*/ 0 h 346"/>
                <a:gd name="T40" fmla="*/ 34 w 347"/>
                <a:gd name="T41" fmla="*/ 0 h 346"/>
                <a:gd name="T42" fmla="*/ 40 w 347"/>
                <a:gd name="T43" fmla="*/ 0 h 346"/>
                <a:gd name="T44" fmla="*/ 46 w 347"/>
                <a:gd name="T45" fmla="*/ 2 h 346"/>
                <a:gd name="T46" fmla="*/ 52 w 347"/>
                <a:gd name="T47" fmla="*/ 5 h 346"/>
                <a:gd name="T48" fmla="*/ 57 w 347"/>
                <a:gd name="T49" fmla="*/ 9 h 346"/>
                <a:gd name="T50" fmla="*/ 338 w 347"/>
                <a:gd name="T51" fmla="*/ 289 h 346"/>
                <a:gd name="T52" fmla="*/ 338 w 347"/>
                <a:gd name="T53" fmla="*/ 289 h 346"/>
                <a:gd name="T54" fmla="*/ 342 w 347"/>
                <a:gd name="T55" fmla="*/ 295 h 346"/>
                <a:gd name="T56" fmla="*/ 345 w 347"/>
                <a:gd name="T57" fmla="*/ 301 h 346"/>
                <a:gd name="T58" fmla="*/ 346 w 347"/>
                <a:gd name="T59" fmla="*/ 307 h 346"/>
                <a:gd name="T60" fmla="*/ 347 w 347"/>
                <a:gd name="T61" fmla="*/ 313 h 346"/>
                <a:gd name="T62" fmla="*/ 346 w 347"/>
                <a:gd name="T63" fmla="*/ 319 h 346"/>
                <a:gd name="T64" fmla="*/ 345 w 347"/>
                <a:gd name="T65" fmla="*/ 326 h 346"/>
                <a:gd name="T66" fmla="*/ 342 w 347"/>
                <a:gd name="T67" fmla="*/ 331 h 346"/>
                <a:gd name="T68" fmla="*/ 338 w 347"/>
                <a:gd name="T69" fmla="*/ 336 h 346"/>
                <a:gd name="T70" fmla="*/ 338 w 347"/>
                <a:gd name="T71" fmla="*/ 336 h 346"/>
                <a:gd name="T72" fmla="*/ 333 w 347"/>
                <a:gd name="T73" fmla="*/ 340 h 346"/>
                <a:gd name="T74" fmla="*/ 326 w 347"/>
                <a:gd name="T75" fmla="*/ 343 h 346"/>
                <a:gd name="T76" fmla="*/ 320 w 347"/>
                <a:gd name="T77" fmla="*/ 345 h 346"/>
                <a:gd name="T78" fmla="*/ 314 w 347"/>
                <a:gd name="T79" fmla="*/ 346 h 346"/>
                <a:gd name="T80" fmla="*/ 314 w 347"/>
                <a:gd name="T8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7" h="346">
                  <a:moveTo>
                    <a:pt x="314" y="346"/>
                  </a:moveTo>
                  <a:lnTo>
                    <a:pt x="314" y="346"/>
                  </a:lnTo>
                  <a:lnTo>
                    <a:pt x="308" y="345"/>
                  </a:lnTo>
                  <a:lnTo>
                    <a:pt x="302" y="343"/>
                  </a:lnTo>
                  <a:lnTo>
                    <a:pt x="296" y="340"/>
                  </a:lnTo>
                  <a:lnTo>
                    <a:pt x="290" y="33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6" y="51"/>
                  </a:lnTo>
                  <a:lnTo>
                    <a:pt x="4" y="45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4" y="21"/>
                  </a:lnTo>
                  <a:lnTo>
                    <a:pt x="6" y="14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6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7" y="9"/>
                  </a:lnTo>
                  <a:lnTo>
                    <a:pt x="338" y="289"/>
                  </a:lnTo>
                  <a:lnTo>
                    <a:pt x="338" y="289"/>
                  </a:lnTo>
                  <a:lnTo>
                    <a:pt x="342" y="295"/>
                  </a:lnTo>
                  <a:lnTo>
                    <a:pt x="345" y="301"/>
                  </a:lnTo>
                  <a:lnTo>
                    <a:pt x="346" y="307"/>
                  </a:lnTo>
                  <a:lnTo>
                    <a:pt x="347" y="313"/>
                  </a:lnTo>
                  <a:lnTo>
                    <a:pt x="346" y="319"/>
                  </a:lnTo>
                  <a:lnTo>
                    <a:pt x="345" y="326"/>
                  </a:lnTo>
                  <a:lnTo>
                    <a:pt x="342" y="331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3" y="340"/>
                  </a:lnTo>
                  <a:lnTo>
                    <a:pt x="326" y="343"/>
                  </a:lnTo>
                  <a:lnTo>
                    <a:pt x="320" y="345"/>
                  </a:lnTo>
                  <a:lnTo>
                    <a:pt x="314" y="346"/>
                  </a:lnTo>
                  <a:lnTo>
                    <a:pt x="314" y="3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46">
              <a:extLst>
                <a:ext uri="{FF2B5EF4-FFF2-40B4-BE49-F238E27FC236}">
                  <a16:creationId xmlns:a16="http://schemas.microsoft.com/office/drawing/2014/main" id="{3C2CFB68-23DC-9D43-1127-BD44F1E32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700" y="2947988"/>
              <a:ext cx="171450" cy="169863"/>
            </a:xfrm>
            <a:custGeom>
              <a:avLst/>
              <a:gdLst>
                <a:gd name="T0" fmla="*/ 48 w 755"/>
                <a:gd name="T1" fmla="*/ 753 h 753"/>
                <a:gd name="T2" fmla="*/ 0 w 755"/>
                <a:gd name="T3" fmla="*/ 707 h 753"/>
                <a:gd name="T4" fmla="*/ 707 w 755"/>
                <a:gd name="T5" fmla="*/ 0 h 753"/>
                <a:gd name="T6" fmla="*/ 755 w 755"/>
                <a:gd name="T7" fmla="*/ 48 h 753"/>
                <a:gd name="T8" fmla="*/ 48 w 755"/>
                <a:gd name="T9" fmla="*/ 753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5" h="753">
                  <a:moveTo>
                    <a:pt x="48" y="753"/>
                  </a:moveTo>
                  <a:lnTo>
                    <a:pt x="0" y="707"/>
                  </a:lnTo>
                  <a:lnTo>
                    <a:pt x="707" y="0"/>
                  </a:lnTo>
                  <a:lnTo>
                    <a:pt x="755" y="48"/>
                  </a:lnTo>
                  <a:lnTo>
                    <a:pt x="48" y="7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47">
              <a:extLst>
                <a:ext uri="{FF2B5EF4-FFF2-40B4-BE49-F238E27FC236}">
                  <a16:creationId xmlns:a16="http://schemas.microsoft.com/office/drawing/2014/main" id="{FADF57BC-49CE-CD9E-CEDF-8E34CA8674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6400" y="2889250"/>
              <a:ext cx="90488" cy="88900"/>
            </a:xfrm>
            <a:custGeom>
              <a:avLst/>
              <a:gdLst>
                <a:gd name="T0" fmla="*/ 197 w 399"/>
                <a:gd name="T1" fmla="*/ 392 h 392"/>
                <a:gd name="T2" fmla="*/ 197 w 399"/>
                <a:gd name="T3" fmla="*/ 392 h 392"/>
                <a:gd name="T4" fmla="*/ 189 w 399"/>
                <a:gd name="T5" fmla="*/ 392 h 392"/>
                <a:gd name="T6" fmla="*/ 183 w 399"/>
                <a:gd name="T7" fmla="*/ 390 h 392"/>
                <a:gd name="T8" fmla="*/ 178 w 399"/>
                <a:gd name="T9" fmla="*/ 387 h 392"/>
                <a:gd name="T10" fmla="*/ 173 w 399"/>
                <a:gd name="T11" fmla="*/ 383 h 392"/>
                <a:gd name="T12" fmla="*/ 9 w 399"/>
                <a:gd name="T13" fmla="*/ 219 h 392"/>
                <a:gd name="T14" fmla="*/ 9 w 399"/>
                <a:gd name="T15" fmla="*/ 219 h 392"/>
                <a:gd name="T16" fmla="*/ 5 w 399"/>
                <a:gd name="T17" fmla="*/ 214 h 392"/>
                <a:gd name="T18" fmla="*/ 1 w 399"/>
                <a:gd name="T19" fmla="*/ 207 h 392"/>
                <a:gd name="T20" fmla="*/ 0 w 399"/>
                <a:gd name="T21" fmla="*/ 201 h 392"/>
                <a:gd name="T22" fmla="*/ 0 w 399"/>
                <a:gd name="T23" fmla="*/ 193 h 392"/>
                <a:gd name="T24" fmla="*/ 0 w 399"/>
                <a:gd name="T25" fmla="*/ 193 h 392"/>
                <a:gd name="T26" fmla="*/ 1 w 399"/>
                <a:gd name="T27" fmla="*/ 186 h 392"/>
                <a:gd name="T28" fmla="*/ 4 w 399"/>
                <a:gd name="T29" fmla="*/ 179 h 392"/>
                <a:gd name="T30" fmla="*/ 8 w 399"/>
                <a:gd name="T31" fmla="*/ 174 h 392"/>
                <a:gd name="T32" fmla="*/ 14 w 399"/>
                <a:gd name="T33" fmla="*/ 169 h 392"/>
                <a:gd name="T34" fmla="*/ 248 w 399"/>
                <a:gd name="T35" fmla="*/ 6 h 392"/>
                <a:gd name="T36" fmla="*/ 248 w 399"/>
                <a:gd name="T37" fmla="*/ 6 h 392"/>
                <a:gd name="T38" fmla="*/ 253 w 399"/>
                <a:gd name="T39" fmla="*/ 3 h 392"/>
                <a:gd name="T40" fmla="*/ 259 w 399"/>
                <a:gd name="T41" fmla="*/ 1 h 392"/>
                <a:gd name="T42" fmla="*/ 264 w 399"/>
                <a:gd name="T43" fmla="*/ 0 h 392"/>
                <a:gd name="T44" fmla="*/ 270 w 399"/>
                <a:gd name="T45" fmla="*/ 0 h 392"/>
                <a:gd name="T46" fmla="*/ 275 w 399"/>
                <a:gd name="T47" fmla="*/ 1 h 392"/>
                <a:gd name="T48" fmla="*/ 281 w 399"/>
                <a:gd name="T49" fmla="*/ 3 h 392"/>
                <a:gd name="T50" fmla="*/ 286 w 399"/>
                <a:gd name="T51" fmla="*/ 6 h 392"/>
                <a:gd name="T52" fmla="*/ 290 w 399"/>
                <a:gd name="T53" fmla="*/ 10 h 392"/>
                <a:gd name="T54" fmla="*/ 389 w 399"/>
                <a:gd name="T55" fmla="*/ 110 h 392"/>
                <a:gd name="T56" fmla="*/ 389 w 399"/>
                <a:gd name="T57" fmla="*/ 110 h 392"/>
                <a:gd name="T58" fmla="*/ 393 w 399"/>
                <a:gd name="T59" fmla="*/ 114 h 392"/>
                <a:gd name="T60" fmla="*/ 396 w 399"/>
                <a:gd name="T61" fmla="*/ 119 h 392"/>
                <a:gd name="T62" fmla="*/ 399 w 399"/>
                <a:gd name="T63" fmla="*/ 124 h 392"/>
                <a:gd name="T64" fmla="*/ 399 w 399"/>
                <a:gd name="T65" fmla="*/ 130 h 392"/>
                <a:gd name="T66" fmla="*/ 399 w 399"/>
                <a:gd name="T67" fmla="*/ 135 h 392"/>
                <a:gd name="T68" fmla="*/ 397 w 399"/>
                <a:gd name="T69" fmla="*/ 142 h 392"/>
                <a:gd name="T70" fmla="*/ 395 w 399"/>
                <a:gd name="T71" fmla="*/ 147 h 392"/>
                <a:gd name="T72" fmla="*/ 392 w 399"/>
                <a:gd name="T73" fmla="*/ 152 h 392"/>
                <a:gd name="T74" fmla="*/ 223 w 399"/>
                <a:gd name="T75" fmla="*/ 380 h 392"/>
                <a:gd name="T76" fmla="*/ 223 w 399"/>
                <a:gd name="T77" fmla="*/ 380 h 392"/>
                <a:gd name="T78" fmla="*/ 217 w 399"/>
                <a:gd name="T79" fmla="*/ 385 h 392"/>
                <a:gd name="T80" fmla="*/ 212 w 399"/>
                <a:gd name="T81" fmla="*/ 389 h 392"/>
                <a:gd name="T82" fmla="*/ 206 w 399"/>
                <a:gd name="T83" fmla="*/ 391 h 392"/>
                <a:gd name="T84" fmla="*/ 199 w 399"/>
                <a:gd name="T85" fmla="*/ 392 h 392"/>
                <a:gd name="T86" fmla="*/ 199 w 399"/>
                <a:gd name="T87" fmla="*/ 392 h 392"/>
                <a:gd name="T88" fmla="*/ 197 w 399"/>
                <a:gd name="T89" fmla="*/ 392 h 392"/>
                <a:gd name="T90" fmla="*/ 197 w 399"/>
                <a:gd name="T91" fmla="*/ 392 h 392"/>
                <a:gd name="T92" fmla="*/ 84 w 399"/>
                <a:gd name="T93" fmla="*/ 201 h 392"/>
                <a:gd name="T94" fmla="*/ 193 w 399"/>
                <a:gd name="T95" fmla="*/ 309 h 392"/>
                <a:gd name="T96" fmla="*/ 322 w 399"/>
                <a:gd name="T97" fmla="*/ 135 h 392"/>
                <a:gd name="T98" fmla="*/ 263 w 399"/>
                <a:gd name="T99" fmla="*/ 77 h 392"/>
                <a:gd name="T100" fmla="*/ 84 w 399"/>
                <a:gd name="T101" fmla="*/ 20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9" h="392">
                  <a:moveTo>
                    <a:pt x="197" y="392"/>
                  </a:moveTo>
                  <a:lnTo>
                    <a:pt x="197" y="392"/>
                  </a:lnTo>
                  <a:lnTo>
                    <a:pt x="189" y="392"/>
                  </a:lnTo>
                  <a:lnTo>
                    <a:pt x="183" y="390"/>
                  </a:lnTo>
                  <a:lnTo>
                    <a:pt x="178" y="387"/>
                  </a:lnTo>
                  <a:lnTo>
                    <a:pt x="173" y="383"/>
                  </a:lnTo>
                  <a:lnTo>
                    <a:pt x="9" y="219"/>
                  </a:lnTo>
                  <a:lnTo>
                    <a:pt x="9" y="219"/>
                  </a:lnTo>
                  <a:lnTo>
                    <a:pt x="5" y="214"/>
                  </a:lnTo>
                  <a:lnTo>
                    <a:pt x="1" y="207"/>
                  </a:lnTo>
                  <a:lnTo>
                    <a:pt x="0" y="201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1" y="186"/>
                  </a:lnTo>
                  <a:lnTo>
                    <a:pt x="4" y="179"/>
                  </a:lnTo>
                  <a:lnTo>
                    <a:pt x="8" y="174"/>
                  </a:lnTo>
                  <a:lnTo>
                    <a:pt x="14" y="169"/>
                  </a:lnTo>
                  <a:lnTo>
                    <a:pt x="248" y="6"/>
                  </a:lnTo>
                  <a:lnTo>
                    <a:pt x="248" y="6"/>
                  </a:lnTo>
                  <a:lnTo>
                    <a:pt x="253" y="3"/>
                  </a:lnTo>
                  <a:lnTo>
                    <a:pt x="259" y="1"/>
                  </a:lnTo>
                  <a:lnTo>
                    <a:pt x="264" y="0"/>
                  </a:lnTo>
                  <a:lnTo>
                    <a:pt x="270" y="0"/>
                  </a:lnTo>
                  <a:lnTo>
                    <a:pt x="275" y="1"/>
                  </a:lnTo>
                  <a:lnTo>
                    <a:pt x="281" y="3"/>
                  </a:lnTo>
                  <a:lnTo>
                    <a:pt x="286" y="6"/>
                  </a:lnTo>
                  <a:lnTo>
                    <a:pt x="290" y="10"/>
                  </a:lnTo>
                  <a:lnTo>
                    <a:pt x="389" y="110"/>
                  </a:lnTo>
                  <a:lnTo>
                    <a:pt x="389" y="110"/>
                  </a:lnTo>
                  <a:lnTo>
                    <a:pt x="393" y="114"/>
                  </a:lnTo>
                  <a:lnTo>
                    <a:pt x="396" y="119"/>
                  </a:lnTo>
                  <a:lnTo>
                    <a:pt x="399" y="124"/>
                  </a:lnTo>
                  <a:lnTo>
                    <a:pt x="399" y="130"/>
                  </a:lnTo>
                  <a:lnTo>
                    <a:pt x="399" y="135"/>
                  </a:lnTo>
                  <a:lnTo>
                    <a:pt x="397" y="142"/>
                  </a:lnTo>
                  <a:lnTo>
                    <a:pt x="395" y="147"/>
                  </a:lnTo>
                  <a:lnTo>
                    <a:pt x="392" y="152"/>
                  </a:lnTo>
                  <a:lnTo>
                    <a:pt x="223" y="380"/>
                  </a:lnTo>
                  <a:lnTo>
                    <a:pt x="223" y="380"/>
                  </a:lnTo>
                  <a:lnTo>
                    <a:pt x="217" y="385"/>
                  </a:lnTo>
                  <a:lnTo>
                    <a:pt x="212" y="389"/>
                  </a:lnTo>
                  <a:lnTo>
                    <a:pt x="206" y="391"/>
                  </a:lnTo>
                  <a:lnTo>
                    <a:pt x="199" y="392"/>
                  </a:lnTo>
                  <a:lnTo>
                    <a:pt x="199" y="392"/>
                  </a:lnTo>
                  <a:lnTo>
                    <a:pt x="197" y="392"/>
                  </a:lnTo>
                  <a:lnTo>
                    <a:pt x="197" y="392"/>
                  </a:lnTo>
                  <a:close/>
                  <a:moveTo>
                    <a:pt x="84" y="201"/>
                  </a:moveTo>
                  <a:lnTo>
                    <a:pt x="193" y="309"/>
                  </a:lnTo>
                  <a:lnTo>
                    <a:pt x="322" y="135"/>
                  </a:lnTo>
                  <a:lnTo>
                    <a:pt x="263" y="77"/>
                  </a:lnTo>
                  <a:lnTo>
                    <a:pt x="84" y="2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950F70C9-1F21-975A-0E9D-81429EFA3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6525" y="2889250"/>
              <a:ext cx="184150" cy="184150"/>
            </a:xfrm>
            <a:custGeom>
              <a:avLst/>
              <a:gdLst>
                <a:gd name="T0" fmla="*/ 372 w 811"/>
                <a:gd name="T1" fmla="*/ 586 h 812"/>
                <a:gd name="T2" fmla="*/ 290 w 811"/>
                <a:gd name="T3" fmla="*/ 596 h 812"/>
                <a:gd name="T4" fmla="*/ 210 w 811"/>
                <a:gd name="T5" fmla="*/ 583 h 812"/>
                <a:gd name="T6" fmla="*/ 136 w 811"/>
                <a:gd name="T7" fmla="*/ 549 h 812"/>
                <a:gd name="T8" fmla="*/ 87 w 811"/>
                <a:gd name="T9" fmla="*/ 510 h 812"/>
                <a:gd name="T10" fmla="*/ 34 w 811"/>
                <a:gd name="T11" fmla="*/ 438 h 812"/>
                <a:gd name="T12" fmla="*/ 5 w 811"/>
                <a:gd name="T13" fmla="*/ 358 h 812"/>
                <a:gd name="T14" fmla="*/ 1 w 811"/>
                <a:gd name="T15" fmla="*/ 272 h 812"/>
                <a:gd name="T16" fmla="*/ 23 w 811"/>
                <a:gd name="T17" fmla="*/ 186 h 812"/>
                <a:gd name="T18" fmla="*/ 39 w 811"/>
                <a:gd name="T19" fmla="*/ 170 h 812"/>
                <a:gd name="T20" fmla="*/ 62 w 811"/>
                <a:gd name="T21" fmla="*/ 168 h 812"/>
                <a:gd name="T22" fmla="*/ 290 w 811"/>
                <a:gd name="T23" fmla="*/ 293 h 812"/>
                <a:gd name="T24" fmla="*/ 170 w 811"/>
                <a:gd name="T25" fmla="*/ 69 h 812"/>
                <a:gd name="T26" fmla="*/ 167 w 811"/>
                <a:gd name="T27" fmla="*/ 47 h 812"/>
                <a:gd name="T28" fmla="*/ 186 w 811"/>
                <a:gd name="T29" fmla="*/ 24 h 812"/>
                <a:gd name="T30" fmla="*/ 249 w 811"/>
                <a:gd name="T31" fmla="*/ 4 h 812"/>
                <a:gd name="T32" fmla="*/ 335 w 811"/>
                <a:gd name="T33" fmla="*/ 2 h 812"/>
                <a:gd name="T34" fmla="*/ 417 w 811"/>
                <a:gd name="T35" fmla="*/ 25 h 812"/>
                <a:gd name="T36" fmla="*/ 491 w 811"/>
                <a:gd name="T37" fmla="*/ 71 h 812"/>
                <a:gd name="T38" fmla="*/ 535 w 811"/>
                <a:gd name="T39" fmla="*/ 119 h 812"/>
                <a:gd name="T40" fmla="*/ 575 w 811"/>
                <a:gd name="T41" fmla="*/ 190 h 812"/>
                <a:gd name="T42" fmla="*/ 594 w 811"/>
                <a:gd name="T43" fmla="*/ 270 h 812"/>
                <a:gd name="T44" fmla="*/ 590 w 811"/>
                <a:gd name="T45" fmla="*/ 352 h 812"/>
                <a:gd name="T46" fmla="*/ 765 w 811"/>
                <a:gd name="T47" fmla="*/ 671 h 812"/>
                <a:gd name="T48" fmla="*/ 511 w 811"/>
                <a:gd name="T49" fmla="*/ 416 h 812"/>
                <a:gd name="T50" fmla="*/ 508 w 811"/>
                <a:gd name="T51" fmla="*/ 397 h 812"/>
                <a:gd name="T52" fmla="*/ 516 w 811"/>
                <a:gd name="T53" fmla="*/ 371 h 812"/>
                <a:gd name="T54" fmla="*/ 529 w 811"/>
                <a:gd name="T55" fmla="*/ 303 h 812"/>
                <a:gd name="T56" fmla="*/ 521 w 811"/>
                <a:gd name="T57" fmla="*/ 237 h 812"/>
                <a:gd name="T58" fmla="*/ 494 w 811"/>
                <a:gd name="T59" fmla="*/ 175 h 812"/>
                <a:gd name="T60" fmla="*/ 461 w 811"/>
                <a:gd name="T61" fmla="*/ 133 h 812"/>
                <a:gd name="T62" fmla="*/ 416 w 811"/>
                <a:gd name="T63" fmla="*/ 98 h 812"/>
                <a:gd name="T64" fmla="*/ 365 w 811"/>
                <a:gd name="T65" fmla="*/ 76 h 812"/>
                <a:gd name="T66" fmla="*/ 313 w 811"/>
                <a:gd name="T67" fmla="*/ 66 h 812"/>
                <a:gd name="T68" fmla="*/ 258 w 811"/>
                <a:gd name="T69" fmla="*/ 70 h 812"/>
                <a:gd name="T70" fmla="*/ 353 w 811"/>
                <a:gd name="T71" fmla="*/ 182 h 812"/>
                <a:gd name="T72" fmla="*/ 356 w 811"/>
                <a:gd name="T73" fmla="*/ 326 h 812"/>
                <a:gd name="T74" fmla="*/ 346 w 811"/>
                <a:gd name="T75" fmla="*/ 349 h 812"/>
                <a:gd name="T76" fmla="*/ 323 w 811"/>
                <a:gd name="T77" fmla="*/ 359 h 812"/>
                <a:gd name="T78" fmla="*/ 178 w 811"/>
                <a:gd name="T79" fmla="*/ 356 h 812"/>
                <a:gd name="T80" fmla="*/ 70 w 811"/>
                <a:gd name="T81" fmla="*/ 259 h 812"/>
                <a:gd name="T82" fmla="*/ 66 w 811"/>
                <a:gd name="T83" fmla="*/ 314 h 812"/>
                <a:gd name="T84" fmla="*/ 76 w 811"/>
                <a:gd name="T85" fmla="*/ 368 h 812"/>
                <a:gd name="T86" fmla="*/ 98 w 811"/>
                <a:gd name="T87" fmla="*/ 419 h 812"/>
                <a:gd name="T88" fmla="*/ 133 w 811"/>
                <a:gd name="T89" fmla="*/ 463 h 812"/>
                <a:gd name="T90" fmla="*/ 174 w 811"/>
                <a:gd name="T91" fmla="*/ 495 h 812"/>
                <a:gd name="T92" fmla="*/ 236 w 811"/>
                <a:gd name="T93" fmla="*/ 522 h 812"/>
                <a:gd name="T94" fmla="*/ 303 w 811"/>
                <a:gd name="T95" fmla="*/ 529 h 812"/>
                <a:gd name="T96" fmla="*/ 370 w 811"/>
                <a:gd name="T97" fmla="*/ 517 h 812"/>
                <a:gd name="T98" fmla="*/ 397 w 811"/>
                <a:gd name="T99" fmla="*/ 509 h 812"/>
                <a:gd name="T100" fmla="*/ 416 w 811"/>
                <a:gd name="T101" fmla="*/ 512 h 812"/>
                <a:gd name="T102" fmla="*/ 625 w 811"/>
                <a:gd name="T103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1" h="812">
                  <a:moveTo>
                    <a:pt x="625" y="812"/>
                  </a:moveTo>
                  <a:lnTo>
                    <a:pt x="392" y="580"/>
                  </a:lnTo>
                  <a:lnTo>
                    <a:pt x="392" y="580"/>
                  </a:lnTo>
                  <a:lnTo>
                    <a:pt x="372" y="586"/>
                  </a:lnTo>
                  <a:lnTo>
                    <a:pt x="352" y="591"/>
                  </a:lnTo>
                  <a:lnTo>
                    <a:pt x="331" y="594"/>
                  </a:lnTo>
                  <a:lnTo>
                    <a:pt x="310" y="596"/>
                  </a:lnTo>
                  <a:lnTo>
                    <a:pt x="290" y="596"/>
                  </a:lnTo>
                  <a:lnTo>
                    <a:pt x="269" y="595"/>
                  </a:lnTo>
                  <a:lnTo>
                    <a:pt x="249" y="593"/>
                  </a:lnTo>
                  <a:lnTo>
                    <a:pt x="230" y="588"/>
                  </a:lnTo>
                  <a:lnTo>
                    <a:pt x="210" y="583"/>
                  </a:lnTo>
                  <a:lnTo>
                    <a:pt x="190" y="577"/>
                  </a:lnTo>
                  <a:lnTo>
                    <a:pt x="172" y="569"/>
                  </a:lnTo>
                  <a:lnTo>
                    <a:pt x="153" y="559"/>
                  </a:lnTo>
                  <a:lnTo>
                    <a:pt x="136" y="549"/>
                  </a:lnTo>
                  <a:lnTo>
                    <a:pt x="118" y="538"/>
                  </a:lnTo>
                  <a:lnTo>
                    <a:pt x="102" y="524"/>
                  </a:lnTo>
                  <a:lnTo>
                    <a:pt x="87" y="510"/>
                  </a:lnTo>
                  <a:lnTo>
                    <a:pt x="87" y="510"/>
                  </a:lnTo>
                  <a:lnTo>
                    <a:pt x="71" y="493"/>
                  </a:lnTo>
                  <a:lnTo>
                    <a:pt x="58" y="476"/>
                  </a:lnTo>
                  <a:lnTo>
                    <a:pt x="46" y="458"/>
                  </a:lnTo>
                  <a:lnTo>
                    <a:pt x="34" y="438"/>
                  </a:lnTo>
                  <a:lnTo>
                    <a:pt x="25" y="419"/>
                  </a:lnTo>
                  <a:lnTo>
                    <a:pt x="17" y="399"/>
                  </a:lnTo>
                  <a:lnTo>
                    <a:pt x="10" y="379"/>
                  </a:lnTo>
                  <a:lnTo>
                    <a:pt x="5" y="358"/>
                  </a:lnTo>
                  <a:lnTo>
                    <a:pt x="2" y="336"/>
                  </a:lnTo>
                  <a:lnTo>
                    <a:pt x="0" y="314"/>
                  </a:lnTo>
                  <a:lnTo>
                    <a:pt x="0" y="293"/>
                  </a:lnTo>
                  <a:lnTo>
                    <a:pt x="1" y="272"/>
                  </a:lnTo>
                  <a:lnTo>
                    <a:pt x="4" y="250"/>
                  </a:lnTo>
                  <a:lnTo>
                    <a:pt x="9" y="229"/>
                  </a:lnTo>
                  <a:lnTo>
                    <a:pt x="16" y="207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7" y="179"/>
                  </a:lnTo>
                  <a:lnTo>
                    <a:pt x="33" y="174"/>
                  </a:lnTo>
                  <a:lnTo>
                    <a:pt x="39" y="170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55" y="165"/>
                  </a:lnTo>
                  <a:lnTo>
                    <a:pt x="62" y="168"/>
                  </a:lnTo>
                  <a:lnTo>
                    <a:pt x="69" y="170"/>
                  </a:lnTo>
                  <a:lnTo>
                    <a:pt x="77" y="175"/>
                  </a:lnTo>
                  <a:lnTo>
                    <a:pt x="203" y="293"/>
                  </a:lnTo>
                  <a:lnTo>
                    <a:pt x="290" y="293"/>
                  </a:lnTo>
                  <a:lnTo>
                    <a:pt x="290" y="206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0" y="69"/>
                  </a:lnTo>
                  <a:lnTo>
                    <a:pt x="167" y="62"/>
                  </a:lnTo>
                  <a:lnTo>
                    <a:pt x="166" y="55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70" y="39"/>
                  </a:lnTo>
                  <a:lnTo>
                    <a:pt x="174" y="33"/>
                  </a:lnTo>
                  <a:lnTo>
                    <a:pt x="179" y="27"/>
                  </a:lnTo>
                  <a:lnTo>
                    <a:pt x="186" y="24"/>
                  </a:lnTo>
                  <a:lnTo>
                    <a:pt x="186" y="24"/>
                  </a:lnTo>
                  <a:lnTo>
                    <a:pt x="207" y="16"/>
                  </a:lnTo>
                  <a:lnTo>
                    <a:pt x="229" y="9"/>
                  </a:lnTo>
                  <a:lnTo>
                    <a:pt x="249" y="4"/>
                  </a:lnTo>
                  <a:lnTo>
                    <a:pt x="271" y="1"/>
                  </a:lnTo>
                  <a:lnTo>
                    <a:pt x="293" y="0"/>
                  </a:lnTo>
                  <a:lnTo>
                    <a:pt x="314" y="0"/>
                  </a:lnTo>
                  <a:lnTo>
                    <a:pt x="335" y="2"/>
                  </a:lnTo>
                  <a:lnTo>
                    <a:pt x="356" y="5"/>
                  </a:lnTo>
                  <a:lnTo>
                    <a:pt x="377" y="10"/>
                  </a:lnTo>
                  <a:lnTo>
                    <a:pt x="397" y="17"/>
                  </a:lnTo>
                  <a:lnTo>
                    <a:pt x="417" y="25"/>
                  </a:lnTo>
                  <a:lnTo>
                    <a:pt x="437" y="34"/>
                  </a:lnTo>
                  <a:lnTo>
                    <a:pt x="455" y="45"/>
                  </a:lnTo>
                  <a:lnTo>
                    <a:pt x="474" y="58"/>
                  </a:lnTo>
                  <a:lnTo>
                    <a:pt x="491" y="71"/>
                  </a:lnTo>
                  <a:lnTo>
                    <a:pt x="507" y="87"/>
                  </a:lnTo>
                  <a:lnTo>
                    <a:pt x="507" y="87"/>
                  </a:lnTo>
                  <a:lnTo>
                    <a:pt x="522" y="102"/>
                  </a:lnTo>
                  <a:lnTo>
                    <a:pt x="535" y="119"/>
                  </a:lnTo>
                  <a:lnTo>
                    <a:pt x="547" y="136"/>
                  </a:lnTo>
                  <a:lnTo>
                    <a:pt x="558" y="153"/>
                  </a:lnTo>
                  <a:lnTo>
                    <a:pt x="567" y="172"/>
                  </a:lnTo>
                  <a:lnTo>
                    <a:pt x="575" y="190"/>
                  </a:lnTo>
                  <a:lnTo>
                    <a:pt x="582" y="210"/>
                  </a:lnTo>
                  <a:lnTo>
                    <a:pt x="587" y="230"/>
                  </a:lnTo>
                  <a:lnTo>
                    <a:pt x="591" y="249"/>
                  </a:lnTo>
                  <a:lnTo>
                    <a:pt x="594" y="270"/>
                  </a:lnTo>
                  <a:lnTo>
                    <a:pt x="595" y="291"/>
                  </a:lnTo>
                  <a:lnTo>
                    <a:pt x="594" y="310"/>
                  </a:lnTo>
                  <a:lnTo>
                    <a:pt x="593" y="331"/>
                  </a:lnTo>
                  <a:lnTo>
                    <a:pt x="590" y="352"/>
                  </a:lnTo>
                  <a:lnTo>
                    <a:pt x="585" y="372"/>
                  </a:lnTo>
                  <a:lnTo>
                    <a:pt x="580" y="392"/>
                  </a:lnTo>
                  <a:lnTo>
                    <a:pt x="811" y="625"/>
                  </a:lnTo>
                  <a:lnTo>
                    <a:pt x="765" y="671"/>
                  </a:lnTo>
                  <a:lnTo>
                    <a:pt x="517" y="424"/>
                  </a:lnTo>
                  <a:lnTo>
                    <a:pt x="517" y="424"/>
                  </a:lnTo>
                  <a:lnTo>
                    <a:pt x="514" y="420"/>
                  </a:lnTo>
                  <a:lnTo>
                    <a:pt x="511" y="416"/>
                  </a:lnTo>
                  <a:lnTo>
                    <a:pt x="509" y="412"/>
                  </a:lnTo>
                  <a:lnTo>
                    <a:pt x="508" y="406"/>
                  </a:lnTo>
                  <a:lnTo>
                    <a:pt x="507" y="402"/>
                  </a:lnTo>
                  <a:lnTo>
                    <a:pt x="508" y="397"/>
                  </a:lnTo>
                  <a:lnTo>
                    <a:pt x="508" y="392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6" y="371"/>
                  </a:lnTo>
                  <a:lnTo>
                    <a:pt x="522" y="355"/>
                  </a:lnTo>
                  <a:lnTo>
                    <a:pt x="525" y="337"/>
                  </a:lnTo>
                  <a:lnTo>
                    <a:pt x="528" y="321"/>
                  </a:lnTo>
                  <a:lnTo>
                    <a:pt x="529" y="303"/>
                  </a:lnTo>
                  <a:lnTo>
                    <a:pt x="529" y="286"/>
                  </a:lnTo>
                  <a:lnTo>
                    <a:pt x="527" y="270"/>
                  </a:lnTo>
                  <a:lnTo>
                    <a:pt x="525" y="253"/>
                  </a:lnTo>
                  <a:lnTo>
                    <a:pt x="521" y="237"/>
                  </a:lnTo>
                  <a:lnTo>
                    <a:pt x="515" y="220"/>
                  </a:lnTo>
                  <a:lnTo>
                    <a:pt x="509" y="205"/>
                  </a:lnTo>
                  <a:lnTo>
                    <a:pt x="502" y="189"/>
                  </a:lnTo>
                  <a:lnTo>
                    <a:pt x="494" y="175"/>
                  </a:lnTo>
                  <a:lnTo>
                    <a:pt x="483" y="160"/>
                  </a:lnTo>
                  <a:lnTo>
                    <a:pt x="473" y="147"/>
                  </a:lnTo>
                  <a:lnTo>
                    <a:pt x="461" y="133"/>
                  </a:lnTo>
                  <a:lnTo>
                    <a:pt x="461" y="133"/>
                  </a:lnTo>
                  <a:lnTo>
                    <a:pt x="450" y="124"/>
                  </a:lnTo>
                  <a:lnTo>
                    <a:pt x="439" y="115"/>
                  </a:lnTo>
                  <a:lnTo>
                    <a:pt x="427" y="107"/>
                  </a:lnTo>
                  <a:lnTo>
                    <a:pt x="416" y="98"/>
                  </a:lnTo>
                  <a:lnTo>
                    <a:pt x="404" y="91"/>
                  </a:lnTo>
                  <a:lnTo>
                    <a:pt x="391" y="86"/>
                  </a:lnTo>
                  <a:lnTo>
                    <a:pt x="379" y="81"/>
                  </a:lnTo>
                  <a:lnTo>
                    <a:pt x="365" y="76"/>
                  </a:lnTo>
                  <a:lnTo>
                    <a:pt x="353" y="72"/>
                  </a:lnTo>
                  <a:lnTo>
                    <a:pt x="339" y="69"/>
                  </a:lnTo>
                  <a:lnTo>
                    <a:pt x="326" y="67"/>
                  </a:lnTo>
                  <a:lnTo>
                    <a:pt x="313" y="66"/>
                  </a:lnTo>
                  <a:lnTo>
                    <a:pt x="299" y="66"/>
                  </a:lnTo>
                  <a:lnTo>
                    <a:pt x="285" y="66"/>
                  </a:lnTo>
                  <a:lnTo>
                    <a:pt x="271" y="68"/>
                  </a:lnTo>
                  <a:lnTo>
                    <a:pt x="258" y="70"/>
                  </a:lnTo>
                  <a:lnTo>
                    <a:pt x="347" y="172"/>
                  </a:lnTo>
                  <a:lnTo>
                    <a:pt x="347" y="172"/>
                  </a:lnTo>
                  <a:lnTo>
                    <a:pt x="351" y="176"/>
                  </a:lnTo>
                  <a:lnTo>
                    <a:pt x="353" y="182"/>
                  </a:lnTo>
                  <a:lnTo>
                    <a:pt x="355" y="187"/>
                  </a:lnTo>
                  <a:lnTo>
                    <a:pt x="356" y="193"/>
                  </a:lnTo>
                  <a:lnTo>
                    <a:pt x="356" y="326"/>
                  </a:lnTo>
                  <a:lnTo>
                    <a:pt x="356" y="326"/>
                  </a:lnTo>
                  <a:lnTo>
                    <a:pt x="355" y="332"/>
                  </a:lnTo>
                  <a:lnTo>
                    <a:pt x="353" y="338"/>
                  </a:lnTo>
                  <a:lnTo>
                    <a:pt x="350" y="344"/>
                  </a:lnTo>
                  <a:lnTo>
                    <a:pt x="346" y="349"/>
                  </a:lnTo>
                  <a:lnTo>
                    <a:pt x="340" y="353"/>
                  </a:lnTo>
                  <a:lnTo>
                    <a:pt x="335" y="356"/>
                  </a:lnTo>
                  <a:lnTo>
                    <a:pt x="329" y="358"/>
                  </a:lnTo>
                  <a:lnTo>
                    <a:pt x="323" y="359"/>
                  </a:lnTo>
                  <a:lnTo>
                    <a:pt x="190" y="359"/>
                  </a:lnTo>
                  <a:lnTo>
                    <a:pt x="190" y="359"/>
                  </a:lnTo>
                  <a:lnTo>
                    <a:pt x="184" y="358"/>
                  </a:lnTo>
                  <a:lnTo>
                    <a:pt x="178" y="356"/>
                  </a:lnTo>
                  <a:lnTo>
                    <a:pt x="173" y="354"/>
                  </a:lnTo>
                  <a:lnTo>
                    <a:pt x="168" y="35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7" y="273"/>
                  </a:lnTo>
                  <a:lnTo>
                    <a:pt x="66" y="286"/>
                  </a:lnTo>
                  <a:lnTo>
                    <a:pt x="66" y="300"/>
                  </a:lnTo>
                  <a:lnTo>
                    <a:pt x="66" y="314"/>
                  </a:lnTo>
                  <a:lnTo>
                    <a:pt x="67" y="328"/>
                  </a:lnTo>
                  <a:lnTo>
                    <a:pt x="69" y="341"/>
                  </a:lnTo>
                  <a:lnTo>
                    <a:pt x="72" y="355"/>
                  </a:lnTo>
                  <a:lnTo>
                    <a:pt x="76" y="368"/>
                  </a:lnTo>
                  <a:lnTo>
                    <a:pt x="81" y="382"/>
                  </a:lnTo>
                  <a:lnTo>
                    <a:pt x="86" y="394"/>
                  </a:lnTo>
                  <a:lnTo>
                    <a:pt x="92" y="406"/>
                  </a:lnTo>
                  <a:lnTo>
                    <a:pt x="98" y="419"/>
                  </a:lnTo>
                  <a:lnTo>
                    <a:pt x="107" y="430"/>
                  </a:lnTo>
                  <a:lnTo>
                    <a:pt x="115" y="442"/>
                  </a:lnTo>
                  <a:lnTo>
                    <a:pt x="123" y="453"/>
                  </a:lnTo>
                  <a:lnTo>
                    <a:pt x="133" y="463"/>
                  </a:lnTo>
                  <a:lnTo>
                    <a:pt x="133" y="463"/>
                  </a:lnTo>
                  <a:lnTo>
                    <a:pt x="146" y="475"/>
                  </a:lnTo>
                  <a:lnTo>
                    <a:pt x="159" y="486"/>
                  </a:lnTo>
                  <a:lnTo>
                    <a:pt x="174" y="495"/>
                  </a:lnTo>
                  <a:lnTo>
                    <a:pt x="188" y="504"/>
                  </a:lnTo>
                  <a:lnTo>
                    <a:pt x="204" y="511"/>
                  </a:lnTo>
                  <a:lnTo>
                    <a:pt x="219" y="517"/>
                  </a:lnTo>
                  <a:lnTo>
                    <a:pt x="236" y="522"/>
                  </a:lnTo>
                  <a:lnTo>
                    <a:pt x="253" y="526"/>
                  </a:lnTo>
                  <a:lnTo>
                    <a:pt x="269" y="528"/>
                  </a:lnTo>
                  <a:lnTo>
                    <a:pt x="286" y="529"/>
                  </a:lnTo>
                  <a:lnTo>
                    <a:pt x="303" y="529"/>
                  </a:lnTo>
                  <a:lnTo>
                    <a:pt x="320" y="528"/>
                  </a:lnTo>
                  <a:lnTo>
                    <a:pt x="337" y="526"/>
                  </a:lnTo>
                  <a:lnTo>
                    <a:pt x="354" y="522"/>
                  </a:lnTo>
                  <a:lnTo>
                    <a:pt x="370" y="517"/>
                  </a:lnTo>
                  <a:lnTo>
                    <a:pt x="387" y="511"/>
                  </a:lnTo>
                  <a:lnTo>
                    <a:pt x="387" y="511"/>
                  </a:lnTo>
                  <a:lnTo>
                    <a:pt x="392" y="510"/>
                  </a:lnTo>
                  <a:lnTo>
                    <a:pt x="397" y="509"/>
                  </a:lnTo>
                  <a:lnTo>
                    <a:pt x="402" y="509"/>
                  </a:lnTo>
                  <a:lnTo>
                    <a:pt x="407" y="509"/>
                  </a:lnTo>
                  <a:lnTo>
                    <a:pt x="411" y="511"/>
                  </a:lnTo>
                  <a:lnTo>
                    <a:pt x="416" y="512"/>
                  </a:lnTo>
                  <a:lnTo>
                    <a:pt x="420" y="515"/>
                  </a:lnTo>
                  <a:lnTo>
                    <a:pt x="423" y="518"/>
                  </a:lnTo>
                  <a:lnTo>
                    <a:pt x="672" y="765"/>
                  </a:lnTo>
                  <a:lnTo>
                    <a:pt x="625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49">
              <a:extLst>
                <a:ext uri="{FF2B5EF4-FFF2-40B4-BE49-F238E27FC236}">
                  <a16:creationId xmlns:a16="http://schemas.microsoft.com/office/drawing/2014/main" id="{D4687950-A074-05EA-2E6B-F8486DE95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563" y="3062288"/>
              <a:ext cx="184150" cy="184150"/>
            </a:xfrm>
            <a:custGeom>
              <a:avLst/>
              <a:gdLst>
                <a:gd name="T0" fmla="*/ 485 w 812"/>
                <a:gd name="T1" fmla="*/ 811 h 812"/>
                <a:gd name="T2" fmla="*/ 428 w 812"/>
                <a:gd name="T3" fmla="*/ 800 h 812"/>
                <a:gd name="T4" fmla="*/ 375 w 812"/>
                <a:gd name="T5" fmla="*/ 778 h 812"/>
                <a:gd name="T6" fmla="*/ 327 w 812"/>
                <a:gd name="T7" fmla="*/ 745 h 812"/>
                <a:gd name="T8" fmla="*/ 290 w 812"/>
                <a:gd name="T9" fmla="*/ 710 h 812"/>
                <a:gd name="T10" fmla="*/ 244 w 812"/>
                <a:gd name="T11" fmla="*/ 640 h 812"/>
                <a:gd name="T12" fmla="*/ 220 w 812"/>
                <a:gd name="T13" fmla="*/ 563 h 812"/>
                <a:gd name="T14" fmla="*/ 219 w 812"/>
                <a:gd name="T15" fmla="*/ 481 h 812"/>
                <a:gd name="T16" fmla="*/ 0 w 812"/>
                <a:gd name="T17" fmla="*/ 187 h 812"/>
                <a:gd name="T18" fmla="*/ 298 w 812"/>
                <a:gd name="T19" fmla="*/ 392 h 812"/>
                <a:gd name="T20" fmla="*/ 304 w 812"/>
                <a:gd name="T21" fmla="*/ 410 h 812"/>
                <a:gd name="T22" fmla="*/ 302 w 812"/>
                <a:gd name="T23" fmla="*/ 424 h 812"/>
                <a:gd name="T24" fmla="*/ 284 w 812"/>
                <a:gd name="T25" fmla="*/ 491 h 812"/>
                <a:gd name="T26" fmla="*/ 287 w 812"/>
                <a:gd name="T27" fmla="*/ 559 h 812"/>
                <a:gd name="T28" fmla="*/ 309 w 812"/>
                <a:gd name="T29" fmla="*/ 623 h 812"/>
                <a:gd name="T30" fmla="*/ 351 w 812"/>
                <a:gd name="T31" fmla="*/ 679 h 812"/>
                <a:gd name="T32" fmla="*/ 384 w 812"/>
                <a:gd name="T33" fmla="*/ 706 h 812"/>
                <a:gd name="T34" fmla="*/ 433 w 812"/>
                <a:gd name="T35" fmla="*/ 731 h 812"/>
                <a:gd name="T36" fmla="*/ 487 w 812"/>
                <a:gd name="T37" fmla="*/ 745 h 812"/>
                <a:gd name="T38" fmla="*/ 543 w 812"/>
                <a:gd name="T39" fmla="*/ 745 h 812"/>
                <a:gd name="T40" fmla="*/ 455 w 812"/>
                <a:gd name="T41" fmla="*/ 636 h 812"/>
                <a:gd name="T42" fmla="*/ 450 w 812"/>
                <a:gd name="T43" fmla="*/ 486 h 812"/>
                <a:gd name="T44" fmla="*/ 456 w 812"/>
                <a:gd name="T45" fmla="*/ 468 h 812"/>
                <a:gd name="T46" fmla="*/ 477 w 812"/>
                <a:gd name="T47" fmla="*/ 454 h 812"/>
                <a:gd name="T48" fmla="*/ 622 w 812"/>
                <a:gd name="T49" fmla="*/ 454 h 812"/>
                <a:gd name="T50" fmla="*/ 742 w 812"/>
                <a:gd name="T51" fmla="*/ 558 h 812"/>
                <a:gd name="T52" fmla="*/ 746 w 812"/>
                <a:gd name="T53" fmla="*/ 516 h 812"/>
                <a:gd name="T54" fmla="*/ 740 w 812"/>
                <a:gd name="T55" fmla="*/ 460 h 812"/>
                <a:gd name="T56" fmla="*/ 720 w 812"/>
                <a:gd name="T57" fmla="*/ 409 h 812"/>
                <a:gd name="T58" fmla="*/ 688 w 812"/>
                <a:gd name="T59" fmla="*/ 362 h 812"/>
                <a:gd name="T60" fmla="*/ 652 w 812"/>
                <a:gd name="T61" fmla="*/ 328 h 812"/>
                <a:gd name="T62" fmla="*/ 592 w 812"/>
                <a:gd name="T63" fmla="*/ 297 h 812"/>
                <a:gd name="T64" fmla="*/ 525 w 812"/>
                <a:gd name="T65" fmla="*/ 284 h 812"/>
                <a:gd name="T66" fmla="*/ 457 w 812"/>
                <a:gd name="T67" fmla="*/ 291 h 812"/>
                <a:gd name="T68" fmla="*/ 420 w 812"/>
                <a:gd name="T69" fmla="*/ 303 h 812"/>
                <a:gd name="T70" fmla="*/ 400 w 812"/>
                <a:gd name="T71" fmla="*/ 303 h 812"/>
                <a:gd name="T72" fmla="*/ 141 w 812"/>
                <a:gd name="T73" fmla="*/ 48 h 812"/>
                <a:gd name="T74" fmla="*/ 440 w 812"/>
                <a:gd name="T75" fmla="*/ 227 h 812"/>
                <a:gd name="T76" fmla="*/ 521 w 812"/>
                <a:gd name="T77" fmla="*/ 217 h 812"/>
                <a:gd name="T78" fmla="*/ 602 w 812"/>
                <a:gd name="T79" fmla="*/ 231 h 812"/>
                <a:gd name="T80" fmla="*/ 676 w 812"/>
                <a:gd name="T81" fmla="*/ 265 h 812"/>
                <a:gd name="T82" fmla="*/ 725 w 812"/>
                <a:gd name="T83" fmla="*/ 304 h 812"/>
                <a:gd name="T84" fmla="*/ 778 w 812"/>
                <a:gd name="T85" fmla="*/ 376 h 812"/>
                <a:gd name="T86" fmla="*/ 807 w 812"/>
                <a:gd name="T87" fmla="*/ 458 h 812"/>
                <a:gd name="T88" fmla="*/ 811 w 812"/>
                <a:gd name="T89" fmla="*/ 544 h 812"/>
                <a:gd name="T90" fmla="*/ 788 w 812"/>
                <a:gd name="T91" fmla="*/ 631 h 812"/>
                <a:gd name="T92" fmla="*/ 773 w 812"/>
                <a:gd name="T93" fmla="*/ 648 h 812"/>
                <a:gd name="T94" fmla="*/ 749 w 812"/>
                <a:gd name="T95" fmla="*/ 650 h 812"/>
                <a:gd name="T96" fmla="*/ 516 w 812"/>
                <a:gd name="T97" fmla="*/ 519 h 812"/>
                <a:gd name="T98" fmla="*/ 647 w 812"/>
                <a:gd name="T99" fmla="*/ 742 h 812"/>
                <a:gd name="T100" fmla="*/ 650 w 812"/>
                <a:gd name="T101" fmla="*/ 764 h 812"/>
                <a:gd name="T102" fmla="*/ 631 w 812"/>
                <a:gd name="T103" fmla="*/ 788 h 812"/>
                <a:gd name="T104" fmla="*/ 588 w 812"/>
                <a:gd name="T105" fmla="*/ 803 h 812"/>
                <a:gd name="T106" fmla="*/ 529 w 812"/>
                <a:gd name="T107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12" h="812">
                  <a:moveTo>
                    <a:pt x="514" y="812"/>
                  </a:moveTo>
                  <a:lnTo>
                    <a:pt x="514" y="812"/>
                  </a:lnTo>
                  <a:lnTo>
                    <a:pt x="500" y="812"/>
                  </a:lnTo>
                  <a:lnTo>
                    <a:pt x="485" y="811"/>
                  </a:lnTo>
                  <a:lnTo>
                    <a:pt x="471" y="809"/>
                  </a:lnTo>
                  <a:lnTo>
                    <a:pt x="456" y="807"/>
                  </a:lnTo>
                  <a:lnTo>
                    <a:pt x="443" y="804"/>
                  </a:lnTo>
                  <a:lnTo>
                    <a:pt x="428" y="800"/>
                  </a:lnTo>
                  <a:lnTo>
                    <a:pt x="415" y="795"/>
                  </a:lnTo>
                  <a:lnTo>
                    <a:pt x="401" y="790"/>
                  </a:lnTo>
                  <a:lnTo>
                    <a:pt x="388" y="784"/>
                  </a:lnTo>
                  <a:lnTo>
                    <a:pt x="375" y="778"/>
                  </a:lnTo>
                  <a:lnTo>
                    <a:pt x="363" y="771"/>
                  </a:lnTo>
                  <a:lnTo>
                    <a:pt x="351" y="762"/>
                  </a:lnTo>
                  <a:lnTo>
                    <a:pt x="338" y="754"/>
                  </a:lnTo>
                  <a:lnTo>
                    <a:pt x="327" y="745"/>
                  </a:lnTo>
                  <a:lnTo>
                    <a:pt x="315" y="735"/>
                  </a:lnTo>
                  <a:lnTo>
                    <a:pt x="304" y="725"/>
                  </a:lnTo>
                  <a:lnTo>
                    <a:pt x="304" y="725"/>
                  </a:lnTo>
                  <a:lnTo>
                    <a:pt x="290" y="710"/>
                  </a:lnTo>
                  <a:lnTo>
                    <a:pt x="276" y="693"/>
                  </a:lnTo>
                  <a:lnTo>
                    <a:pt x="265" y="677"/>
                  </a:lnTo>
                  <a:lnTo>
                    <a:pt x="253" y="658"/>
                  </a:lnTo>
                  <a:lnTo>
                    <a:pt x="244" y="640"/>
                  </a:lnTo>
                  <a:lnTo>
                    <a:pt x="237" y="622"/>
                  </a:lnTo>
                  <a:lnTo>
                    <a:pt x="230" y="602"/>
                  </a:lnTo>
                  <a:lnTo>
                    <a:pt x="224" y="582"/>
                  </a:lnTo>
                  <a:lnTo>
                    <a:pt x="220" y="563"/>
                  </a:lnTo>
                  <a:lnTo>
                    <a:pt x="218" y="542"/>
                  </a:lnTo>
                  <a:lnTo>
                    <a:pt x="217" y="521"/>
                  </a:lnTo>
                  <a:lnTo>
                    <a:pt x="217" y="502"/>
                  </a:lnTo>
                  <a:lnTo>
                    <a:pt x="219" y="481"/>
                  </a:lnTo>
                  <a:lnTo>
                    <a:pt x="222" y="460"/>
                  </a:lnTo>
                  <a:lnTo>
                    <a:pt x="226" y="440"/>
                  </a:lnTo>
                  <a:lnTo>
                    <a:pt x="233" y="420"/>
                  </a:lnTo>
                  <a:lnTo>
                    <a:pt x="0" y="187"/>
                  </a:lnTo>
                  <a:lnTo>
                    <a:pt x="46" y="141"/>
                  </a:lnTo>
                  <a:lnTo>
                    <a:pt x="295" y="388"/>
                  </a:lnTo>
                  <a:lnTo>
                    <a:pt x="295" y="388"/>
                  </a:lnTo>
                  <a:lnTo>
                    <a:pt x="298" y="392"/>
                  </a:lnTo>
                  <a:lnTo>
                    <a:pt x="300" y="396"/>
                  </a:lnTo>
                  <a:lnTo>
                    <a:pt x="302" y="400"/>
                  </a:lnTo>
                  <a:lnTo>
                    <a:pt x="303" y="406"/>
                  </a:lnTo>
                  <a:lnTo>
                    <a:pt x="304" y="410"/>
                  </a:lnTo>
                  <a:lnTo>
                    <a:pt x="304" y="415"/>
                  </a:lnTo>
                  <a:lnTo>
                    <a:pt x="303" y="420"/>
                  </a:lnTo>
                  <a:lnTo>
                    <a:pt x="302" y="424"/>
                  </a:lnTo>
                  <a:lnTo>
                    <a:pt x="302" y="424"/>
                  </a:lnTo>
                  <a:lnTo>
                    <a:pt x="295" y="441"/>
                  </a:lnTo>
                  <a:lnTo>
                    <a:pt x="291" y="458"/>
                  </a:lnTo>
                  <a:lnTo>
                    <a:pt x="286" y="475"/>
                  </a:lnTo>
                  <a:lnTo>
                    <a:pt x="284" y="491"/>
                  </a:lnTo>
                  <a:lnTo>
                    <a:pt x="283" y="509"/>
                  </a:lnTo>
                  <a:lnTo>
                    <a:pt x="283" y="526"/>
                  </a:lnTo>
                  <a:lnTo>
                    <a:pt x="284" y="542"/>
                  </a:lnTo>
                  <a:lnTo>
                    <a:pt x="287" y="559"/>
                  </a:lnTo>
                  <a:lnTo>
                    <a:pt x="291" y="575"/>
                  </a:lnTo>
                  <a:lnTo>
                    <a:pt x="296" y="592"/>
                  </a:lnTo>
                  <a:lnTo>
                    <a:pt x="302" y="607"/>
                  </a:lnTo>
                  <a:lnTo>
                    <a:pt x="309" y="623"/>
                  </a:lnTo>
                  <a:lnTo>
                    <a:pt x="319" y="637"/>
                  </a:lnTo>
                  <a:lnTo>
                    <a:pt x="328" y="652"/>
                  </a:lnTo>
                  <a:lnTo>
                    <a:pt x="339" y="665"/>
                  </a:lnTo>
                  <a:lnTo>
                    <a:pt x="351" y="679"/>
                  </a:lnTo>
                  <a:lnTo>
                    <a:pt x="351" y="679"/>
                  </a:lnTo>
                  <a:lnTo>
                    <a:pt x="361" y="688"/>
                  </a:lnTo>
                  <a:lnTo>
                    <a:pt x="372" y="697"/>
                  </a:lnTo>
                  <a:lnTo>
                    <a:pt x="384" y="706"/>
                  </a:lnTo>
                  <a:lnTo>
                    <a:pt x="396" y="714"/>
                  </a:lnTo>
                  <a:lnTo>
                    <a:pt x="408" y="720"/>
                  </a:lnTo>
                  <a:lnTo>
                    <a:pt x="421" y="726"/>
                  </a:lnTo>
                  <a:lnTo>
                    <a:pt x="433" y="731"/>
                  </a:lnTo>
                  <a:lnTo>
                    <a:pt x="447" y="737"/>
                  </a:lnTo>
                  <a:lnTo>
                    <a:pt x="460" y="740"/>
                  </a:lnTo>
                  <a:lnTo>
                    <a:pt x="474" y="743"/>
                  </a:lnTo>
                  <a:lnTo>
                    <a:pt x="487" y="745"/>
                  </a:lnTo>
                  <a:lnTo>
                    <a:pt x="501" y="746"/>
                  </a:lnTo>
                  <a:lnTo>
                    <a:pt x="515" y="746"/>
                  </a:lnTo>
                  <a:lnTo>
                    <a:pt x="529" y="746"/>
                  </a:lnTo>
                  <a:lnTo>
                    <a:pt x="543" y="745"/>
                  </a:lnTo>
                  <a:lnTo>
                    <a:pt x="557" y="743"/>
                  </a:lnTo>
                  <a:lnTo>
                    <a:pt x="459" y="641"/>
                  </a:lnTo>
                  <a:lnTo>
                    <a:pt x="459" y="641"/>
                  </a:lnTo>
                  <a:lnTo>
                    <a:pt x="455" y="636"/>
                  </a:lnTo>
                  <a:lnTo>
                    <a:pt x="453" y="631"/>
                  </a:lnTo>
                  <a:lnTo>
                    <a:pt x="451" y="625"/>
                  </a:lnTo>
                  <a:lnTo>
                    <a:pt x="450" y="619"/>
                  </a:lnTo>
                  <a:lnTo>
                    <a:pt x="450" y="486"/>
                  </a:lnTo>
                  <a:lnTo>
                    <a:pt x="450" y="486"/>
                  </a:lnTo>
                  <a:lnTo>
                    <a:pt x="451" y="480"/>
                  </a:lnTo>
                  <a:lnTo>
                    <a:pt x="453" y="474"/>
                  </a:lnTo>
                  <a:lnTo>
                    <a:pt x="456" y="468"/>
                  </a:lnTo>
                  <a:lnTo>
                    <a:pt x="460" y="464"/>
                  </a:lnTo>
                  <a:lnTo>
                    <a:pt x="464" y="459"/>
                  </a:lnTo>
                  <a:lnTo>
                    <a:pt x="471" y="456"/>
                  </a:lnTo>
                  <a:lnTo>
                    <a:pt x="477" y="454"/>
                  </a:lnTo>
                  <a:lnTo>
                    <a:pt x="483" y="453"/>
                  </a:lnTo>
                  <a:lnTo>
                    <a:pt x="616" y="453"/>
                  </a:lnTo>
                  <a:lnTo>
                    <a:pt x="616" y="453"/>
                  </a:lnTo>
                  <a:lnTo>
                    <a:pt x="622" y="454"/>
                  </a:lnTo>
                  <a:lnTo>
                    <a:pt x="628" y="455"/>
                  </a:lnTo>
                  <a:lnTo>
                    <a:pt x="633" y="458"/>
                  </a:lnTo>
                  <a:lnTo>
                    <a:pt x="638" y="462"/>
                  </a:lnTo>
                  <a:lnTo>
                    <a:pt x="742" y="558"/>
                  </a:lnTo>
                  <a:lnTo>
                    <a:pt x="742" y="558"/>
                  </a:lnTo>
                  <a:lnTo>
                    <a:pt x="744" y="544"/>
                  </a:lnTo>
                  <a:lnTo>
                    <a:pt x="746" y="530"/>
                  </a:lnTo>
                  <a:lnTo>
                    <a:pt x="746" y="516"/>
                  </a:lnTo>
                  <a:lnTo>
                    <a:pt x="746" y="502"/>
                  </a:lnTo>
                  <a:lnTo>
                    <a:pt x="745" y="488"/>
                  </a:lnTo>
                  <a:lnTo>
                    <a:pt x="743" y="475"/>
                  </a:lnTo>
                  <a:lnTo>
                    <a:pt x="740" y="460"/>
                  </a:lnTo>
                  <a:lnTo>
                    <a:pt x="736" y="448"/>
                  </a:lnTo>
                  <a:lnTo>
                    <a:pt x="731" y="435"/>
                  </a:lnTo>
                  <a:lnTo>
                    <a:pt x="726" y="421"/>
                  </a:lnTo>
                  <a:lnTo>
                    <a:pt x="720" y="409"/>
                  </a:lnTo>
                  <a:lnTo>
                    <a:pt x="714" y="396"/>
                  </a:lnTo>
                  <a:lnTo>
                    <a:pt x="706" y="385"/>
                  </a:lnTo>
                  <a:lnTo>
                    <a:pt x="697" y="373"/>
                  </a:lnTo>
                  <a:lnTo>
                    <a:pt x="688" y="362"/>
                  </a:lnTo>
                  <a:lnTo>
                    <a:pt x="679" y="352"/>
                  </a:lnTo>
                  <a:lnTo>
                    <a:pt x="679" y="352"/>
                  </a:lnTo>
                  <a:lnTo>
                    <a:pt x="665" y="339"/>
                  </a:lnTo>
                  <a:lnTo>
                    <a:pt x="652" y="328"/>
                  </a:lnTo>
                  <a:lnTo>
                    <a:pt x="637" y="319"/>
                  </a:lnTo>
                  <a:lnTo>
                    <a:pt x="623" y="310"/>
                  </a:lnTo>
                  <a:lnTo>
                    <a:pt x="607" y="303"/>
                  </a:lnTo>
                  <a:lnTo>
                    <a:pt x="592" y="297"/>
                  </a:lnTo>
                  <a:lnTo>
                    <a:pt x="575" y="292"/>
                  </a:lnTo>
                  <a:lnTo>
                    <a:pt x="559" y="288"/>
                  </a:lnTo>
                  <a:lnTo>
                    <a:pt x="542" y="285"/>
                  </a:lnTo>
                  <a:lnTo>
                    <a:pt x="525" y="284"/>
                  </a:lnTo>
                  <a:lnTo>
                    <a:pt x="508" y="284"/>
                  </a:lnTo>
                  <a:lnTo>
                    <a:pt x="491" y="285"/>
                  </a:lnTo>
                  <a:lnTo>
                    <a:pt x="475" y="287"/>
                  </a:lnTo>
                  <a:lnTo>
                    <a:pt x="457" y="291"/>
                  </a:lnTo>
                  <a:lnTo>
                    <a:pt x="441" y="296"/>
                  </a:lnTo>
                  <a:lnTo>
                    <a:pt x="424" y="302"/>
                  </a:lnTo>
                  <a:lnTo>
                    <a:pt x="424" y="302"/>
                  </a:lnTo>
                  <a:lnTo>
                    <a:pt x="420" y="303"/>
                  </a:lnTo>
                  <a:lnTo>
                    <a:pt x="415" y="304"/>
                  </a:lnTo>
                  <a:lnTo>
                    <a:pt x="410" y="304"/>
                  </a:lnTo>
                  <a:lnTo>
                    <a:pt x="405" y="304"/>
                  </a:lnTo>
                  <a:lnTo>
                    <a:pt x="400" y="303"/>
                  </a:lnTo>
                  <a:lnTo>
                    <a:pt x="396" y="301"/>
                  </a:lnTo>
                  <a:lnTo>
                    <a:pt x="392" y="298"/>
                  </a:lnTo>
                  <a:lnTo>
                    <a:pt x="388" y="295"/>
                  </a:lnTo>
                  <a:lnTo>
                    <a:pt x="141" y="48"/>
                  </a:lnTo>
                  <a:lnTo>
                    <a:pt x="187" y="0"/>
                  </a:lnTo>
                  <a:lnTo>
                    <a:pt x="420" y="233"/>
                  </a:lnTo>
                  <a:lnTo>
                    <a:pt x="420" y="233"/>
                  </a:lnTo>
                  <a:lnTo>
                    <a:pt x="440" y="227"/>
                  </a:lnTo>
                  <a:lnTo>
                    <a:pt x="460" y="223"/>
                  </a:lnTo>
                  <a:lnTo>
                    <a:pt x="481" y="219"/>
                  </a:lnTo>
                  <a:lnTo>
                    <a:pt x="501" y="217"/>
                  </a:lnTo>
                  <a:lnTo>
                    <a:pt x="521" y="217"/>
                  </a:lnTo>
                  <a:lnTo>
                    <a:pt x="542" y="218"/>
                  </a:lnTo>
                  <a:lnTo>
                    <a:pt x="562" y="222"/>
                  </a:lnTo>
                  <a:lnTo>
                    <a:pt x="582" y="225"/>
                  </a:lnTo>
                  <a:lnTo>
                    <a:pt x="602" y="231"/>
                  </a:lnTo>
                  <a:lnTo>
                    <a:pt x="621" y="237"/>
                  </a:lnTo>
                  <a:lnTo>
                    <a:pt x="640" y="245"/>
                  </a:lnTo>
                  <a:lnTo>
                    <a:pt x="658" y="255"/>
                  </a:lnTo>
                  <a:lnTo>
                    <a:pt x="676" y="265"/>
                  </a:lnTo>
                  <a:lnTo>
                    <a:pt x="693" y="277"/>
                  </a:lnTo>
                  <a:lnTo>
                    <a:pt x="710" y="290"/>
                  </a:lnTo>
                  <a:lnTo>
                    <a:pt x="725" y="304"/>
                  </a:lnTo>
                  <a:lnTo>
                    <a:pt x="725" y="304"/>
                  </a:lnTo>
                  <a:lnTo>
                    <a:pt x="741" y="321"/>
                  </a:lnTo>
                  <a:lnTo>
                    <a:pt x="754" y="338"/>
                  </a:lnTo>
                  <a:lnTo>
                    <a:pt x="767" y="357"/>
                  </a:lnTo>
                  <a:lnTo>
                    <a:pt x="778" y="376"/>
                  </a:lnTo>
                  <a:lnTo>
                    <a:pt x="787" y="395"/>
                  </a:lnTo>
                  <a:lnTo>
                    <a:pt x="796" y="416"/>
                  </a:lnTo>
                  <a:lnTo>
                    <a:pt x="802" y="437"/>
                  </a:lnTo>
                  <a:lnTo>
                    <a:pt x="807" y="458"/>
                  </a:lnTo>
                  <a:lnTo>
                    <a:pt x="810" y="479"/>
                  </a:lnTo>
                  <a:lnTo>
                    <a:pt x="812" y="501"/>
                  </a:lnTo>
                  <a:lnTo>
                    <a:pt x="812" y="522"/>
                  </a:lnTo>
                  <a:lnTo>
                    <a:pt x="811" y="544"/>
                  </a:lnTo>
                  <a:lnTo>
                    <a:pt x="808" y="566"/>
                  </a:lnTo>
                  <a:lnTo>
                    <a:pt x="803" y="588"/>
                  </a:lnTo>
                  <a:lnTo>
                    <a:pt x="797" y="609"/>
                  </a:lnTo>
                  <a:lnTo>
                    <a:pt x="788" y="631"/>
                  </a:lnTo>
                  <a:lnTo>
                    <a:pt x="788" y="631"/>
                  </a:lnTo>
                  <a:lnTo>
                    <a:pt x="784" y="637"/>
                  </a:lnTo>
                  <a:lnTo>
                    <a:pt x="779" y="643"/>
                  </a:lnTo>
                  <a:lnTo>
                    <a:pt x="773" y="648"/>
                  </a:lnTo>
                  <a:lnTo>
                    <a:pt x="765" y="651"/>
                  </a:lnTo>
                  <a:lnTo>
                    <a:pt x="765" y="651"/>
                  </a:lnTo>
                  <a:lnTo>
                    <a:pt x="757" y="651"/>
                  </a:lnTo>
                  <a:lnTo>
                    <a:pt x="749" y="650"/>
                  </a:lnTo>
                  <a:lnTo>
                    <a:pt x="742" y="647"/>
                  </a:lnTo>
                  <a:lnTo>
                    <a:pt x="736" y="642"/>
                  </a:lnTo>
                  <a:lnTo>
                    <a:pt x="602" y="519"/>
                  </a:lnTo>
                  <a:lnTo>
                    <a:pt x="516" y="519"/>
                  </a:lnTo>
                  <a:lnTo>
                    <a:pt x="516" y="605"/>
                  </a:lnTo>
                  <a:lnTo>
                    <a:pt x="641" y="735"/>
                  </a:lnTo>
                  <a:lnTo>
                    <a:pt x="641" y="735"/>
                  </a:lnTo>
                  <a:lnTo>
                    <a:pt x="647" y="742"/>
                  </a:lnTo>
                  <a:lnTo>
                    <a:pt x="650" y="749"/>
                  </a:lnTo>
                  <a:lnTo>
                    <a:pt x="651" y="757"/>
                  </a:lnTo>
                  <a:lnTo>
                    <a:pt x="650" y="764"/>
                  </a:lnTo>
                  <a:lnTo>
                    <a:pt x="650" y="764"/>
                  </a:lnTo>
                  <a:lnTo>
                    <a:pt x="648" y="773"/>
                  </a:lnTo>
                  <a:lnTo>
                    <a:pt x="643" y="779"/>
                  </a:lnTo>
                  <a:lnTo>
                    <a:pt x="637" y="784"/>
                  </a:lnTo>
                  <a:lnTo>
                    <a:pt x="631" y="788"/>
                  </a:lnTo>
                  <a:lnTo>
                    <a:pt x="631" y="788"/>
                  </a:lnTo>
                  <a:lnTo>
                    <a:pt x="617" y="794"/>
                  </a:lnTo>
                  <a:lnTo>
                    <a:pt x="602" y="799"/>
                  </a:lnTo>
                  <a:lnTo>
                    <a:pt x="588" y="803"/>
                  </a:lnTo>
                  <a:lnTo>
                    <a:pt x="573" y="807"/>
                  </a:lnTo>
                  <a:lnTo>
                    <a:pt x="559" y="809"/>
                  </a:lnTo>
                  <a:lnTo>
                    <a:pt x="543" y="811"/>
                  </a:lnTo>
                  <a:lnTo>
                    <a:pt x="529" y="812"/>
                  </a:lnTo>
                  <a:lnTo>
                    <a:pt x="514" y="812"/>
                  </a:lnTo>
                  <a:lnTo>
                    <a:pt x="514" y="8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C601DE36-DB16-9D7B-3285-3F9D736B6AFC}"/>
              </a:ext>
            </a:extLst>
          </p:cNvPr>
          <p:cNvSpPr txBox="1"/>
          <p:nvPr/>
        </p:nvSpPr>
        <p:spPr>
          <a:xfrm>
            <a:off x="964272" y="2491931"/>
            <a:ext cx="325042" cy="1384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defTabSz="457200" rtl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P</a:t>
            </a:r>
            <a:endParaRPr lang="en-US" sz="500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1FF331-9B86-DAFA-6F56-C5E2BDF7B259}"/>
              </a:ext>
            </a:extLst>
          </p:cNvPr>
          <p:cNvSpPr/>
          <p:nvPr/>
        </p:nvSpPr>
        <p:spPr>
          <a:xfrm>
            <a:off x="4229137" y="3767719"/>
            <a:ext cx="787967" cy="692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fontAlgn="base"/>
            <a:r>
              <a:rPr lang="en-US" sz="900" b="1" i="0" dirty="0">
                <a:solidFill>
                  <a:srgbClr val="15828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audi Standard Classification of Occupations *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737ABA-0E5B-A213-4613-CF8B174D277F}"/>
              </a:ext>
            </a:extLst>
          </p:cNvPr>
          <p:cNvSpPr txBox="1"/>
          <p:nvPr/>
        </p:nvSpPr>
        <p:spPr>
          <a:xfrm>
            <a:off x="571628" y="6158949"/>
            <a:ext cx="61055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US" sz="11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the International Standard Classification of Occupations (ISCO-08)</a:t>
            </a:r>
            <a:endParaRPr lang="ar-SA" sz="1100" dirty="0">
              <a:solidFill>
                <a:srgbClr val="134258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903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Methodology for verifying the suitability of the worker’s skills for the targeted profession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rPr>
              <a:t>3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ill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3FC09764-819A-CA5C-C604-C439BDAD74BC}"/>
              </a:ext>
            </a:extLst>
          </p:cNvPr>
          <p:cNvSpPr/>
          <p:nvPr/>
        </p:nvSpPr>
        <p:spPr>
          <a:xfrm flipH="1">
            <a:off x="4487237" y="2053215"/>
            <a:ext cx="3248696" cy="3674082"/>
          </a:xfrm>
          <a:prstGeom prst="round2SameRect">
            <a:avLst>
              <a:gd name="adj1" fmla="val 705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CCFB296-9D2B-69E4-7863-104C41E1D35E}"/>
              </a:ext>
            </a:extLst>
          </p:cNvPr>
          <p:cNvSpPr/>
          <p:nvPr/>
        </p:nvSpPr>
        <p:spPr>
          <a:xfrm flipH="1">
            <a:off x="4562835" y="5707557"/>
            <a:ext cx="3002241" cy="228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94A2C08F-6342-94BC-B5D3-2B22A7F6535C}"/>
              </a:ext>
            </a:extLst>
          </p:cNvPr>
          <p:cNvSpPr/>
          <p:nvPr/>
        </p:nvSpPr>
        <p:spPr>
          <a:xfrm flipH="1">
            <a:off x="8167716" y="2044250"/>
            <a:ext cx="3214046" cy="3674082"/>
          </a:xfrm>
          <a:prstGeom prst="round2SameRect">
            <a:avLst>
              <a:gd name="adj1" fmla="val 705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Low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C9F910C-6F21-B1EA-A807-A80CF20ECE18}"/>
              </a:ext>
            </a:extLst>
          </p:cNvPr>
          <p:cNvSpPr/>
          <p:nvPr/>
        </p:nvSpPr>
        <p:spPr>
          <a:xfrm flipH="1">
            <a:off x="8300817" y="5707556"/>
            <a:ext cx="2887016" cy="2286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700F870C-0DD7-8BA3-910A-F8E8270C5FCB}"/>
              </a:ext>
            </a:extLst>
          </p:cNvPr>
          <p:cNvSpPr/>
          <p:nvPr/>
        </p:nvSpPr>
        <p:spPr>
          <a:xfrm flipH="1">
            <a:off x="823500" y="2061396"/>
            <a:ext cx="3200412" cy="3665900"/>
          </a:xfrm>
          <a:prstGeom prst="round2SameRect">
            <a:avLst>
              <a:gd name="adj1" fmla="val 7051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39BCE6E-8424-9708-DC0B-59E7EA9A1890}"/>
              </a:ext>
            </a:extLst>
          </p:cNvPr>
          <p:cNvSpPr/>
          <p:nvPr/>
        </p:nvSpPr>
        <p:spPr>
          <a:xfrm flipH="1">
            <a:off x="890729" y="5707556"/>
            <a:ext cx="3002241" cy="2286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0B5292AB-74D8-5CB9-B811-2EC090F8D94A}"/>
              </a:ext>
            </a:extLst>
          </p:cNvPr>
          <p:cNvSpPr/>
          <p:nvPr/>
        </p:nvSpPr>
        <p:spPr>
          <a:xfrm rot="5400000">
            <a:off x="9220331" y="502054"/>
            <a:ext cx="1121247" cy="3233029"/>
          </a:xfrm>
          <a:prstGeom prst="homePlate">
            <a:avLst>
              <a:gd name="adj" fmla="val 21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2930162-7792-0298-88A3-5DA7299C37D2}"/>
              </a:ext>
            </a:extLst>
          </p:cNvPr>
          <p:cNvSpPr txBox="1"/>
          <p:nvPr/>
        </p:nvSpPr>
        <p:spPr>
          <a:xfrm>
            <a:off x="8260640" y="1724287"/>
            <a:ext cx="3136884" cy="656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E3142"/>
                </a:solidFill>
                <a:effectLst/>
                <a:uLnTx/>
                <a:uFillTx/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Assess the skills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E3142"/>
                </a:solidFill>
                <a:effectLst/>
                <a:uLnTx/>
                <a:uFillTx/>
                <a:latin typeface="Arial" panose="020B0604020202020204" pitchFamily="34" charset="0"/>
                <a:ea typeface="League Spartan" charset="0"/>
                <a:cs typeface="Arial" panose="020B0604020202020204" pitchFamily="34" charset="0"/>
              </a:rPr>
              <a:t>through various test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BA4A54D2-DB90-B197-4E62-F29826556E3A}"/>
              </a:ext>
            </a:extLst>
          </p:cNvPr>
          <p:cNvSpPr/>
          <p:nvPr/>
        </p:nvSpPr>
        <p:spPr>
          <a:xfrm rot="5400000">
            <a:off x="5545189" y="499517"/>
            <a:ext cx="1121247" cy="3265485"/>
          </a:xfrm>
          <a:prstGeom prst="homePlate">
            <a:avLst>
              <a:gd name="adj" fmla="val 21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F789850-1CB6-B66D-6BEF-CA3FD245F00B}"/>
              </a:ext>
            </a:extLst>
          </p:cNvPr>
          <p:cNvSpPr txBox="1"/>
          <p:nvPr/>
        </p:nvSpPr>
        <p:spPr>
          <a:xfrm>
            <a:off x="4635561" y="1724287"/>
            <a:ext cx="2837085" cy="656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ect standard and develop the questions</a:t>
            </a:r>
          </a:p>
        </p:txBody>
      </p:sp>
      <p:sp>
        <p:nvSpPr>
          <p:cNvPr id="55" name="Arrow: Pentagon 54">
            <a:extLst>
              <a:ext uri="{FF2B5EF4-FFF2-40B4-BE49-F238E27FC236}">
                <a16:creationId xmlns:a16="http://schemas.microsoft.com/office/drawing/2014/main" id="{5B84BF26-72B3-CF14-6E90-8488BA177EC5}"/>
              </a:ext>
            </a:extLst>
          </p:cNvPr>
          <p:cNvSpPr/>
          <p:nvPr/>
        </p:nvSpPr>
        <p:spPr>
          <a:xfrm rot="5400000">
            <a:off x="1885546" y="533992"/>
            <a:ext cx="1121247" cy="3265485"/>
          </a:xfrm>
          <a:prstGeom prst="homePlate">
            <a:avLst>
              <a:gd name="adj" fmla="val 21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F1269C3-C048-10C5-ADFE-542CBAD4E3FA}"/>
              </a:ext>
            </a:extLst>
          </p:cNvPr>
          <p:cNvSpPr txBox="1"/>
          <p:nvPr/>
        </p:nvSpPr>
        <p:spPr>
          <a:xfrm>
            <a:off x="846617" y="1724287"/>
            <a:ext cx="3233606" cy="656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ze the profession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quiremen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D58DE2B-6371-DBBD-B71E-73475A2B7360}"/>
              </a:ext>
            </a:extLst>
          </p:cNvPr>
          <p:cNvSpPr txBox="1"/>
          <p:nvPr/>
        </p:nvSpPr>
        <p:spPr>
          <a:xfrm>
            <a:off x="4617327" y="2740518"/>
            <a:ext cx="2972849" cy="14234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ect the best fit standard that cover profession scope and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 the questions banks for the theoretical and practical tests by SMEs</a:t>
            </a:r>
            <a:endParaRPr kumimoji="0" lang="ar-SA" sz="14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B0D2FBED-423E-B16A-38B7-C55F7D78183A}"/>
              </a:ext>
            </a:extLst>
          </p:cNvPr>
          <p:cNvSpPr txBox="1"/>
          <p:nvPr/>
        </p:nvSpPr>
        <p:spPr>
          <a:xfrm>
            <a:off x="905424" y="2740518"/>
            <a:ext cx="297284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ferring to SSCO, the technical requirements for each profession are analyzed, encompassing main tasks, educational level and field, skills, and other relevant factors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45C33FC0-A53E-CEA7-5359-F6CD6CA7C4FE}"/>
              </a:ext>
            </a:extLst>
          </p:cNvPr>
          <p:cNvSpPr/>
          <p:nvPr/>
        </p:nvSpPr>
        <p:spPr>
          <a:xfrm>
            <a:off x="672210" y="1804559"/>
            <a:ext cx="472282" cy="4222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12907327-F79E-CDAC-07B6-FF582A15992B}"/>
              </a:ext>
            </a:extLst>
          </p:cNvPr>
          <p:cNvSpPr/>
          <p:nvPr/>
        </p:nvSpPr>
        <p:spPr>
          <a:xfrm>
            <a:off x="4296409" y="1801195"/>
            <a:ext cx="472282" cy="4222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FD59DE1C-74C8-9254-B847-FBEC8AA28250}"/>
              </a:ext>
            </a:extLst>
          </p:cNvPr>
          <p:cNvSpPr/>
          <p:nvPr/>
        </p:nvSpPr>
        <p:spPr>
          <a:xfrm>
            <a:off x="8004965" y="1833118"/>
            <a:ext cx="472282" cy="42226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215EB1-868C-75C7-E93E-75FA30A3839E}"/>
              </a:ext>
            </a:extLst>
          </p:cNvPr>
          <p:cNvSpPr txBox="1"/>
          <p:nvPr/>
        </p:nvSpPr>
        <p:spPr>
          <a:xfrm>
            <a:off x="571628" y="6158949"/>
            <a:ext cx="61055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SCO: Saudi Standard Classification of Occupations</a:t>
            </a:r>
            <a:endParaRPr kumimoji="0" lang="ar-SA" sz="11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BCE69D-4519-8736-EAB8-08D0F82F74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0743" y="4181174"/>
            <a:ext cx="2036890" cy="145904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561D234-316C-F6C4-A36C-F92FEEF9BF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8719" y="4148248"/>
            <a:ext cx="2440053" cy="1472166"/>
          </a:xfrm>
          <a:prstGeom prst="rect">
            <a:avLst/>
          </a:prstGeom>
        </p:spPr>
      </p:pic>
      <p:pic>
        <p:nvPicPr>
          <p:cNvPr id="3" name="Graphic 2" descr="Construction worker male with solid fill">
            <a:extLst>
              <a:ext uri="{FF2B5EF4-FFF2-40B4-BE49-F238E27FC236}">
                <a16:creationId xmlns:a16="http://schemas.microsoft.com/office/drawing/2014/main" id="{D8C506E6-D776-3C7D-77ED-A1508AC2AC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293845" y="2872856"/>
            <a:ext cx="547000" cy="547000"/>
          </a:xfrm>
          <a:prstGeom prst="rect">
            <a:avLst/>
          </a:prstGeom>
        </p:spPr>
      </p:pic>
      <p:pic>
        <p:nvPicPr>
          <p:cNvPr id="9" name="Graphic 8" descr="Clipboard Partially Checked outline">
            <a:extLst>
              <a:ext uri="{FF2B5EF4-FFF2-40B4-BE49-F238E27FC236}">
                <a16:creationId xmlns:a16="http://schemas.microsoft.com/office/drawing/2014/main" id="{97CABE40-0B46-8385-BB20-96A8CD512B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91036" y="2855073"/>
            <a:ext cx="532184" cy="53218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E2F8516-B70E-98CD-35C1-C00E16095E6B}"/>
              </a:ext>
            </a:extLst>
          </p:cNvPr>
          <p:cNvGrpSpPr/>
          <p:nvPr/>
        </p:nvGrpSpPr>
        <p:grpSpPr>
          <a:xfrm>
            <a:off x="8600753" y="2777608"/>
            <a:ext cx="712749" cy="810252"/>
            <a:chOff x="6484890" y="3789638"/>
            <a:chExt cx="1385008" cy="1554282"/>
          </a:xfrm>
        </p:grpSpPr>
        <p:sp>
          <p:nvSpPr>
            <p:cNvPr id="10" name="Forme libre : forme 40">
              <a:extLst>
                <a:ext uri="{FF2B5EF4-FFF2-40B4-BE49-F238E27FC236}">
                  <a16:creationId xmlns:a16="http://schemas.microsoft.com/office/drawing/2014/main" id="{4940BD6D-A781-B64D-2B37-E39F5380666F}"/>
                </a:ext>
              </a:extLst>
            </p:cNvPr>
            <p:cNvSpPr/>
            <p:nvPr/>
          </p:nvSpPr>
          <p:spPr>
            <a:xfrm rot="8324997">
              <a:off x="6484890" y="3789638"/>
              <a:ext cx="1385008" cy="1395869"/>
            </a:xfrm>
            <a:prstGeom prst="donut">
              <a:avLst>
                <a:gd name="adj" fmla="val 10505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2" name="Forme libre : forme 22">
              <a:extLst>
                <a:ext uri="{FF2B5EF4-FFF2-40B4-BE49-F238E27FC236}">
                  <a16:creationId xmlns:a16="http://schemas.microsoft.com/office/drawing/2014/main" id="{10EBDDB4-FA89-703B-1198-9A3CB38CFB4C}"/>
                </a:ext>
              </a:extLst>
            </p:cNvPr>
            <p:cNvSpPr/>
            <p:nvPr/>
          </p:nvSpPr>
          <p:spPr>
            <a:xfrm rot="19282465">
              <a:off x="7005673" y="5341618"/>
              <a:ext cx="22356" cy="2302"/>
            </a:xfrm>
            <a:custGeom>
              <a:avLst/>
              <a:gdLst>
                <a:gd name="connsiteX0" fmla="*/ 19040 w 19040"/>
                <a:gd name="connsiteY0" fmla="*/ 0 h 1932"/>
                <a:gd name="connsiteX1" fmla="*/ 19040 w 19040"/>
                <a:gd name="connsiteY1" fmla="*/ 1932 h 1932"/>
                <a:gd name="connsiteX2" fmla="*/ 0 w 19040"/>
                <a:gd name="connsiteY2" fmla="*/ 1932 h 1932"/>
                <a:gd name="connsiteX3" fmla="*/ 19040 w 19040"/>
                <a:gd name="connsiteY3" fmla="*/ 0 h 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" h="1932">
                  <a:moveTo>
                    <a:pt x="19040" y="0"/>
                  </a:moveTo>
                  <a:lnTo>
                    <a:pt x="19040" y="1932"/>
                  </a:lnTo>
                  <a:lnTo>
                    <a:pt x="0" y="1932"/>
                  </a:lnTo>
                  <a:lnTo>
                    <a:pt x="1904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35E230F-CB8D-881F-05B4-B0938835DCC0}"/>
              </a:ext>
            </a:extLst>
          </p:cNvPr>
          <p:cNvGrpSpPr/>
          <p:nvPr/>
        </p:nvGrpSpPr>
        <p:grpSpPr>
          <a:xfrm>
            <a:off x="10208967" y="2767391"/>
            <a:ext cx="712749" cy="810252"/>
            <a:chOff x="6484890" y="3789638"/>
            <a:chExt cx="1385008" cy="1554282"/>
          </a:xfrm>
        </p:grpSpPr>
        <p:sp>
          <p:nvSpPr>
            <p:cNvPr id="14" name="Forme libre : forme 40">
              <a:extLst>
                <a:ext uri="{FF2B5EF4-FFF2-40B4-BE49-F238E27FC236}">
                  <a16:creationId xmlns:a16="http://schemas.microsoft.com/office/drawing/2014/main" id="{387E1E7A-4FD5-3FBB-207D-C288F21CADC4}"/>
                </a:ext>
              </a:extLst>
            </p:cNvPr>
            <p:cNvSpPr/>
            <p:nvPr/>
          </p:nvSpPr>
          <p:spPr>
            <a:xfrm rot="8324997">
              <a:off x="6484890" y="3789638"/>
              <a:ext cx="1385008" cy="1395869"/>
            </a:xfrm>
            <a:prstGeom prst="donut">
              <a:avLst>
                <a:gd name="adj" fmla="val 10505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5" name="Forme libre : forme 22">
              <a:extLst>
                <a:ext uri="{FF2B5EF4-FFF2-40B4-BE49-F238E27FC236}">
                  <a16:creationId xmlns:a16="http://schemas.microsoft.com/office/drawing/2014/main" id="{9E81AB20-C20B-62DD-178A-88932870BB0C}"/>
                </a:ext>
              </a:extLst>
            </p:cNvPr>
            <p:cNvSpPr/>
            <p:nvPr/>
          </p:nvSpPr>
          <p:spPr>
            <a:xfrm rot="19282465">
              <a:off x="7005673" y="5341618"/>
              <a:ext cx="22356" cy="2302"/>
            </a:xfrm>
            <a:custGeom>
              <a:avLst/>
              <a:gdLst>
                <a:gd name="connsiteX0" fmla="*/ 19040 w 19040"/>
                <a:gd name="connsiteY0" fmla="*/ 0 h 1932"/>
                <a:gd name="connsiteX1" fmla="*/ 19040 w 19040"/>
                <a:gd name="connsiteY1" fmla="*/ 1932 h 1932"/>
                <a:gd name="connsiteX2" fmla="*/ 0 w 19040"/>
                <a:gd name="connsiteY2" fmla="*/ 1932 h 1932"/>
                <a:gd name="connsiteX3" fmla="*/ 19040 w 19040"/>
                <a:gd name="connsiteY3" fmla="*/ 0 h 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" h="1932">
                  <a:moveTo>
                    <a:pt x="19040" y="0"/>
                  </a:moveTo>
                  <a:lnTo>
                    <a:pt x="19040" y="1932"/>
                  </a:lnTo>
                  <a:lnTo>
                    <a:pt x="0" y="1932"/>
                  </a:lnTo>
                  <a:lnTo>
                    <a:pt x="1904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7285C550-2BE0-FE73-3EC9-ABB07355AF3B}"/>
              </a:ext>
            </a:extLst>
          </p:cNvPr>
          <p:cNvSpPr txBox="1"/>
          <p:nvPr/>
        </p:nvSpPr>
        <p:spPr>
          <a:xfrm>
            <a:off x="8256801" y="3581103"/>
            <a:ext cx="1492121" cy="19679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oretical  Test: </a:t>
            </a:r>
          </a:p>
          <a:p>
            <a:pPr marR="0" lvl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assesses the worker's knowledge and understanding of the concepts and principles of the targeted profess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CB9599-8B58-BC15-3440-30039ADB257C}"/>
              </a:ext>
            </a:extLst>
          </p:cNvPr>
          <p:cNvSpPr txBox="1"/>
          <p:nvPr/>
        </p:nvSpPr>
        <p:spPr>
          <a:xfrm>
            <a:off x="9884457" y="3586775"/>
            <a:ext cx="1492121" cy="19679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actical    Test: </a:t>
            </a:r>
            <a:endParaRPr lang="en-US" sz="1400" b="1" dirty="0">
              <a:solidFill>
                <a:srgbClr val="134258"/>
              </a:solidFill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  <a:spcAft>
                <a:spcPts val="300"/>
              </a:spcAft>
              <a:defRPr/>
            </a:pPr>
            <a:r>
              <a:rPr lang="en-US" sz="1200" dirty="0">
                <a:solidFill>
                  <a:srgbClr val="134258"/>
                </a:solidFill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o evaluate the worker’s hands-on skills and abilities to carry out the related activities of the targeted profession</a:t>
            </a:r>
          </a:p>
        </p:txBody>
      </p:sp>
    </p:spTree>
    <p:extLst>
      <p:ext uri="{BB962C8B-B14F-4D97-AF65-F5344CB8AC3E}">
        <p14:creationId xmlns:p14="http://schemas.microsoft.com/office/powerpoint/2010/main" val="41830410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-6684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58908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Test Centers Accreditation Standards 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3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grpSp>
        <p:nvGrpSpPr>
          <p:cNvPr id="4" name="Light_Bulb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3DAF833-6AB9-A482-4A8D-8957C697540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 flipH="1">
            <a:off x="1601994" y="2394667"/>
            <a:ext cx="455523" cy="494251"/>
            <a:chOff x="4651376" y="5373688"/>
            <a:chExt cx="598487" cy="677862"/>
          </a:xfrm>
          <a:solidFill>
            <a:schemeClr val="bg1"/>
          </a:solidFill>
        </p:grpSpPr>
        <p:sp>
          <p:nvSpPr>
            <p:cNvPr id="6" name="Freeform 337">
              <a:extLst>
                <a:ext uri="{FF2B5EF4-FFF2-40B4-BE49-F238E27FC236}">
                  <a16:creationId xmlns:a16="http://schemas.microsoft.com/office/drawing/2014/main" id="{AA833DCE-B7E6-AD20-9BC7-73C055DD8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338" y="5449888"/>
              <a:ext cx="442913" cy="412750"/>
            </a:xfrm>
            <a:custGeom>
              <a:avLst/>
              <a:gdLst>
                <a:gd name="T0" fmla="*/ 244 w 323"/>
                <a:gd name="T1" fmla="*/ 301 h 301"/>
                <a:gd name="T2" fmla="*/ 236 w 323"/>
                <a:gd name="T3" fmla="*/ 287 h 301"/>
                <a:gd name="T4" fmla="*/ 238 w 323"/>
                <a:gd name="T5" fmla="*/ 286 h 301"/>
                <a:gd name="T6" fmla="*/ 307 w 323"/>
                <a:gd name="T7" fmla="*/ 162 h 301"/>
                <a:gd name="T8" fmla="*/ 162 w 323"/>
                <a:gd name="T9" fmla="*/ 17 h 301"/>
                <a:gd name="T10" fmla="*/ 16 w 323"/>
                <a:gd name="T11" fmla="*/ 162 h 301"/>
                <a:gd name="T12" fmla="*/ 82 w 323"/>
                <a:gd name="T13" fmla="*/ 284 h 301"/>
                <a:gd name="T14" fmla="*/ 73 w 323"/>
                <a:gd name="T15" fmla="*/ 298 h 301"/>
                <a:gd name="T16" fmla="*/ 0 w 323"/>
                <a:gd name="T17" fmla="*/ 162 h 301"/>
                <a:gd name="T18" fmla="*/ 162 w 323"/>
                <a:gd name="T19" fmla="*/ 0 h 301"/>
                <a:gd name="T20" fmla="*/ 323 w 323"/>
                <a:gd name="T21" fmla="*/ 162 h 301"/>
                <a:gd name="T22" fmla="*/ 247 w 323"/>
                <a:gd name="T23" fmla="*/ 300 h 301"/>
                <a:gd name="T24" fmla="*/ 244 w 323"/>
                <a:gd name="T25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3" h="301">
                  <a:moveTo>
                    <a:pt x="244" y="301"/>
                  </a:moveTo>
                  <a:lnTo>
                    <a:pt x="236" y="287"/>
                  </a:lnTo>
                  <a:lnTo>
                    <a:pt x="238" y="286"/>
                  </a:lnTo>
                  <a:cubicBezTo>
                    <a:pt x="281" y="259"/>
                    <a:pt x="307" y="213"/>
                    <a:pt x="307" y="162"/>
                  </a:cubicBezTo>
                  <a:cubicBezTo>
                    <a:pt x="307" y="82"/>
                    <a:pt x="242" y="17"/>
                    <a:pt x="162" y="17"/>
                  </a:cubicBezTo>
                  <a:cubicBezTo>
                    <a:pt x="82" y="17"/>
                    <a:pt x="16" y="82"/>
                    <a:pt x="16" y="162"/>
                  </a:cubicBezTo>
                  <a:cubicBezTo>
                    <a:pt x="16" y="211"/>
                    <a:pt x="41" y="257"/>
                    <a:pt x="82" y="284"/>
                  </a:cubicBezTo>
                  <a:lnTo>
                    <a:pt x="73" y="298"/>
                  </a:lnTo>
                  <a:cubicBezTo>
                    <a:pt x="27" y="268"/>
                    <a:pt x="0" y="217"/>
                    <a:pt x="0" y="162"/>
                  </a:cubicBezTo>
                  <a:cubicBezTo>
                    <a:pt x="0" y="73"/>
                    <a:pt x="72" y="0"/>
                    <a:pt x="162" y="0"/>
                  </a:cubicBezTo>
                  <a:cubicBezTo>
                    <a:pt x="251" y="0"/>
                    <a:pt x="323" y="73"/>
                    <a:pt x="323" y="162"/>
                  </a:cubicBezTo>
                  <a:cubicBezTo>
                    <a:pt x="323" y="219"/>
                    <a:pt x="295" y="270"/>
                    <a:pt x="247" y="300"/>
                  </a:cubicBezTo>
                  <a:lnTo>
                    <a:pt x="244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7" name="Freeform 338">
              <a:extLst>
                <a:ext uri="{FF2B5EF4-FFF2-40B4-BE49-F238E27FC236}">
                  <a16:creationId xmlns:a16="http://schemas.microsoft.com/office/drawing/2014/main" id="{ED70625F-3C84-100C-CA94-017034385C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9176" y="5835650"/>
              <a:ext cx="242888" cy="160338"/>
            </a:xfrm>
            <a:custGeom>
              <a:avLst/>
              <a:gdLst>
                <a:gd name="T0" fmla="*/ 16 w 178"/>
                <a:gd name="T1" fmla="*/ 17 h 117"/>
                <a:gd name="T2" fmla="*/ 16 w 178"/>
                <a:gd name="T3" fmla="*/ 95 h 117"/>
                <a:gd name="T4" fmla="*/ 21 w 178"/>
                <a:gd name="T5" fmla="*/ 100 h 117"/>
                <a:gd name="T6" fmla="*/ 157 w 178"/>
                <a:gd name="T7" fmla="*/ 100 h 117"/>
                <a:gd name="T8" fmla="*/ 161 w 178"/>
                <a:gd name="T9" fmla="*/ 95 h 117"/>
                <a:gd name="T10" fmla="*/ 161 w 178"/>
                <a:gd name="T11" fmla="*/ 17 h 117"/>
                <a:gd name="T12" fmla="*/ 16 w 178"/>
                <a:gd name="T13" fmla="*/ 17 h 117"/>
                <a:gd name="T14" fmla="*/ 157 w 178"/>
                <a:gd name="T15" fmla="*/ 117 h 117"/>
                <a:gd name="T16" fmla="*/ 21 w 178"/>
                <a:gd name="T17" fmla="*/ 117 h 117"/>
                <a:gd name="T18" fmla="*/ 0 w 178"/>
                <a:gd name="T19" fmla="*/ 95 h 117"/>
                <a:gd name="T20" fmla="*/ 0 w 178"/>
                <a:gd name="T21" fmla="*/ 0 h 117"/>
                <a:gd name="T22" fmla="*/ 178 w 178"/>
                <a:gd name="T23" fmla="*/ 0 h 117"/>
                <a:gd name="T24" fmla="*/ 178 w 178"/>
                <a:gd name="T25" fmla="*/ 95 h 117"/>
                <a:gd name="T26" fmla="*/ 157 w 178"/>
                <a:gd name="T2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8" h="117">
                  <a:moveTo>
                    <a:pt x="16" y="17"/>
                  </a:moveTo>
                  <a:lnTo>
                    <a:pt x="16" y="95"/>
                  </a:lnTo>
                  <a:cubicBezTo>
                    <a:pt x="16" y="98"/>
                    <a:pt x="18" y="100"/>
                    <a:pt x="21" y="100"/>
                  </a:cubicBezTo>
                  <a:lnTo>
                    <a:pt x="157" y="100"/>
                  </a:lnTo>
                  <a:cubicBezTo>
                    <a:pt x="159" y="100"/>
                    <a:pt x="161" y="98"/>
                    <a:pt x="161" y="95"/>
                  </a:cubicBezTo>
                  <a:lnTo>
                    <a:pt x="161" y="17"/>
                  </a:lnTo>
                  <a:lnTo>
                    <a:pt x="16" y="17"/>
                  </a:lnTo>
                  <a:close/>
                  <a:moveTo>
                    <a:pt x="157" y="117"/>
                  </a:moveTo>
                  <a:lnTo>
                    <a:pt x="21" y="117"/>
                  </a:lnTo>
                  <a:cubicBezTo>
                    <a:pt x="9" y="117"/>
                    <a:pt x="0" y="107"/>
                    <a:pt x="0" y="95"/>
                  </a:cubicBezTo>
                  <a:lnTo>
                    <a:pt x="0" y="0"/>
                  </a:lnTo>
                  <a:lnTo>
                    <a:pt x="178" y="0"/>
                  </a:lnTo>
                  <a:lnTo>
                    <a:pt x="178" y="95"/>
                  </a:lnTo>
                  <a:cubicBezTo>
                    <a:pt x="178" y="107"/>
                    <a:pt x="168" y="117"/>
                    <a:pt x="157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8" name="Freeform 339">
              <a:extLst>
                <a:ext uri="{FF2B5EF4-FFF2-40B4-BE49-F238E27FC236}">
                  <a16:creationId xmlns:a16="http://schemas.microsoft.com/office/drawing/2014/main" id="{9D3F0BA9-63CE-4138-A330-A04A241AD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0451" y="5646738"/>
              <a:ext cx="53975" cy="158750"/>
            </a:xfrm>
            <a:custGeom>
              <a:avLst/>
              <a:gdLst>
                <a:gd name="T0" fmla="*/ 39 w 39"/>
                <a:gd name="T1" fmla="*/ 116 h 116"/>
                <a:gd name="T2" fmla="*/ 22 w 39"/>
                <a:gd name="T3" fmla="*/ 116 h 116"/>
                <a:gd name="T4" fmla="*/ 0 w 39"/>
                <a:gd name="T5" fmla="*/ 5 h 116"/>
                <a:gd name="T6" fmla="*/ 16 w 39"/>
                <a:gd name="T7" fmla="*/ 0 h 116"/>
                <a:gd name="T8" fmla="*/ 39 w 3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16">
                  <a:moveTo>
                    <a:pt x="39" y="116"/>
                  </a:moveTo>
                  <a:lnTo>
                    <a:pt x="22" y="116"/>
                  </a:lnTo>
                  <a:cubicBezTo>
                    <a:pt x="22" y="77"/>
                    <a:pt x="1" y="6"/>
                    <a:pt x="0" y="5"/>
                  </a:cubicBezTo>
                  <a:lnTo>
                    <a:pt x="16" y="0"/>
                  </a:lnTo>
                  <a:cubicBezTo>
                    <a:pt x="17" y="3"/>
                    <a:pt x="39" y="75"/>
                    <a:pt x="39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9" name="Freeform 340">
              <a:extLst>
                <a:ext uri="{FF2B5EF4-FFF2-40B4-BE49-F238E27FC236}">
                  <a16:creationId xmlns:a16="http://schemas.microsoft.com/office/drawing/2014/main" id="{C5F311D1-E589-DBF9-78EF-AB76911D3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863" y="5645150"/>
              <a:ext cx="90488" cy="28575"/>
            </a:xfrm>
            <a:custGeom>
              <a:avLst/>
              <a:gdLst>
                <a:gd name="T0" fmla="*/ 33 w 66"/>
                <a:gd name="T1" fmla="*/ 21 h 21"/>
                <a:gd name="T2" fmla="*/ 0 w 66"/>
                <a:gd name="T3" fmla="*/ 1 h 21"/>
                <a:gd name="T4" fmla="*/ 17 w 66"/>
                <a:gd name="T5" fmla="*/ 1 h 21"/>
                <a:gd name="T6" fmla="*/ 17 w 66"/>
                <a:gd name="T7" fmla="*/ 1 h 21"/>
                <a:gd name="T8" fmla="*/ 33 w 66"/>
                <a:gd name="T9" fmla="*/ 4 h 21"/>
                <a:gd name="T10" fmla="*/ 50 w 66"/>
                <a:gd name="T11" fmla="*/ 0 h 21"/>
                <a:gd name="T12" fmla="*/ 66 w 66"/>
                <a:gd name="T13" fmla="*/ 1 h 21"/>
                <a:gd name="T14" fmla="*/ 33 w 66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21">
                  <a:moveTo>
                    <a:pt x="33" y="21"/>
                  </a:moveTo>
                  <a:cubicBezTo>
                    <a:pt x="14" y="21"/>
                    <a:pt x="0" y="13"/>
                    <a:pt x="0" y="1"/>
                  </a:cubicBezTo>
                  <a:lnTo>
                    <a:pt x="17" y="1"/>
                  </a:lnTo>
                  <a:lnTo>
                    <a:pt x="17" y="1"/>
                  </a:lnTo>
                  <a:cubicBezTo>
                    <a:pt x="17" y="1"/>
                    <a:pt x="23" y="4"/>
                    <a:pt x="33" y="4"/>
                  </a:cubicBezTo>
                  <a:cubicBezTo>
                    <a:pt x="44" y="4"/>
                    <a:pt x="49" y="1"/>
                    <a:pt x="50" y="0"/>
                  </a:cubicBezTo>
                  <a:lnTo>
                    <a:pt x="66" y="1"/>
                  </a:lnTo>
                  <a:cubicBezTo>
                    <a:pt x="66" y="13"/>
                    <a:pt x="52" y="21"/>
                    <a:pt x="3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" name="Freeform 341">
              <a:extLst>
                <a:ext uri="{FF2B5EF4-FFF2-40B4-BE49-F238E27FC236}">
                  <a16:creationId xmlns:a16="http://schemas.microsoft.com/office/drawing/2014/main" id="{64400854-FF1F-C1DB-28C2-C88E1E438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638" y="5646738"/>
              <a:ext cx="53975" cy="158750"/>
            </a:xfrm>
            <a:custGeom>
              <a:avLst/>
              <a:gdLst>
                <a:gd name="T0" fmla="*/ 17 w 39"/>
                <a:gd name="T1" fmla="*/ 116 h 116"/>
                <a:gd name="T2" fmla="*/ 0 w 39"/>
                <a:gd name="T3" fmla="*/ 116 h 116"/>
                <a:gd name="T4" fmla="*/ 23 w 39"/>
                <a:gd name="T5" fmla="*/ 0 h 116"/>
                <a:gd name="T6" fmla="*/ 39 w 39"/>
                <a:gd name="T7" fmla="*/ 5 h 116"/>
                <a:gd name="T8" fmla="*/ 17 w 39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16">
                  <a:moveTo>
                    <a:pt x="17" y="116"/>
                  </a:moveTo>
                  <a:lnTo>
                    <a:pt x="0" y="116"/>
                  </a:lnTo>
                  <a:cubicBezTo>
                    <a:pt x="0" y="75"/>
                    <a:pt x="22" y="3"/>
                    <a:pt x="23" y="0"/>
                  </a:cubicBezTo>
                  <a:lnTo>
                    <a:pt x="39" y="5"/>
                  </a:lnTo>
                  <a:cubicBezTo>
                    <a:pt x="38" y="6"/>
                    <a:pt x="17" y="77"/>
                    <a:pt x="17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1" name="Freeform 342">
              <a:extLst>
                <a:ext uri="{FF2B5EF4-FFF2-40B4-BE49-F238E27FC236}">
                  <a16:creationId xmlns:a16="http://schemas.microsoft.com/office/drawing/2014/main" id="{003554DB-CF1F-4B15-789F-BD8C0173D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5645150"/>
              <a:ext cx="88900" cy="28575"/>
            </a:xfrm>
            <a:custGeom>
              <a:avLst/>
              <a:gdLst>
                <a:gd name="T0" fmla="*/ 33 w 66"/>
                <a:gd name="T1" fmla="*/ 21 h 21"/>
                <a:gd name="T2" fmla="*/ 0 w 66"/>
                <a:gd name="T3" fmla="*/ 1 h 21"/>
                <a:gd name="T4" fmla="*/ 16 w 66"/>
                <a:gd name="T5" fmla="*/ 1 h 21"/>
                <a:gd name="T6" fmla="*/ 16 w 66"/>
                <a:gd name="T7" fmla="*/ 0 h 21"/>
                <a:gd name="T8" fmla="*/ 33 w 66"/>
                <a:gd name="T9" fmla="*/ 4 h 21"/>
                <a:gd name="T10" fmla="*/ 49 w 66"/>
                <a:gd name="T11" fmla="*/ 0 h 21"/>
                <a:gd name="T12" fmla="*/ 66 w 66"/>
                <a:gd name="T13" fmla="*/ 1 h 21"/>
                <a:gd name="T14" fmla="*/ 33 w 66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21">
                  <a:moveTo>
                    <a:pt x="33" y="21"/>
                  </a:moveTo>
                  <a:cubicBezTo>
                    <a:pt x="14" y="21"/>
                    <a:pt x="0" y="13"/>
                    <a:pt x="0" y="1"/>
                  </a:cubicBezTo>
                  <a:lnTo>
                    <a:pt x="16" y="1"/>
                  </a:lnTo>
                  <a:cubicBezTo>
                    <a:pt x="16" y="0"/>
                    <a:pt x="16" y="0"/>
                    <a:pt x="16" y="0"/>
                  </a:cubicBezTo>
                  <a:cubicBezTo>
                    <a:pt x="17" y="1"/>
                    <a:pt x="22" y="4"/>
                    <a:pt x="33" y="4"/>
                  </a:cubicBezTo>
                  <a:cubicBezTo>
                    <a:pt x="43" y="4"/>
                    <a:pt x="49" y="1"/>
                    <a:pt x="49" y="0"/>
                  </a:cubicBezTo>
                  <a:lnTo>
                    <a:pt x="66" y="1"/>
                  </a:lnTo>
                  <a:cubicBezTo>
                    <a:pt x="66" y="13"/>
                    <a:pt x="52" y="21"/>
                    <a:pt x="3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2" name="Freeform 343">
              <a:extLst>
                <a:ext uri="{FF2B5EF4-FFF2-40B4-BE49-F238E27FC236}">
                  <a16:creationId xmlns:a16="http://schemas.microsoft.com/office/drawing/2014/main" id="{FAF38979-945C-E439-61F8-70C265B0D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1088" y="5972175"/>
              <a:ext cx="117475" cy="79375"/>
            </a:xfrm>
            <a:custGeom>
              <a:avLst/>
              <a:gdLst>
                <a:gd name="T0" fmla="*/ 16 w 86"/>
                <a:gd name="T1" fmla="*/ 17 h 57"/>
                <a:gd name="T2" fmla="*/ 16 w 86"/>
                <a:gd name="T3" fmla="*/ 35 h 57"/>
                <a:gd name="T4" fmla="*/ 22 w 86"/>
                <a:gd name="T5" fmla="*/ 41 h 57"/>
                <a:gd name="T6" fmla="*/ 64 w 86"/>
                <a:gd name="T7" fmla="*/ 41 h 57"/>
                <a:gd name="T8" fmla="*/ 69 w 86"/>
                <a:gd name="T9" fmla="*/ 35 h 57"/>
                <a:gd name="T10" fmla="*/ 69 w 86"/>
                <a:gd name="T11" fmla="*/ 17 h 57"/>
                <a:gd name="T12" fmla="*/ 16 w 86"/>
                <a:gd name="T13" fmla="*/ 17 h 57"/>
                <a:gd name="T14" fmla="*/ 64 w 86"/>
                <a:gd name="T15" fmla="*/ 57 h 57"/>
                <a:gd name="T16" fmla="*/ 22 w 86"/>
                <a:gd name="T17" fmla="*/ 57 h 57"/>
                <a:gd name="T18" fmla="*/ 0 w 86"/>
                <a:gd name="T19" fmla="*/ 35 h 57"/>
                <a:gd name="T20" fmla="*/ 0 w 86"/>
                <a:gd name="T21" fmla="*/ 0 h 57"/>
                <a:gd name="T22" fmla="*/ 86 w 86"/>
                <a:gd name="T23" fmla="*/ 0 h 57"/>
                <a:gd name="T24" fmla="*/ 86 w 86"/>
                <a:gd name="T25" fmla="*/ 35 h 57"/>
                <a:gd name="T26" fmla="*/ 64 w 86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" h="57">
                  <a:moveTo>
                    <a:pt x="16" y="17"/>
                  </a:moveTo>
                  <a:lnTo>
                    <a:pt x="16" y="35"/>
                  </a:lnTo>
                  <a:cubicBezTo>
                    <a:pt x="16" y="38"/>
                    <a:pt x="19" y="41"/>
                    <a:pt x="22" y="41"/>
                  </a:cubicBezTo>
                  <a:lnTo>
                    <a:pt x="64" y="41"/>
                  </a:lnTo>
                  <a:cubicBezTo>
                    <a:pt x="67" y="41"/>
                    <a:pt x="69" y="38"/>
                    <a:pt x="69" y="35"/>
                  </a:cubicBezTo>
                  <a:lnTo>
                    <a:pt x="69" y="17"/>
                  </a:lnTo>
                  <a:lnTo>
                    <a:pt x="16" y="17"/>
                  </a:lnTo>
                  <a:close/>
                  <a:moveTo>
                    <a:pt x="64" y="57"/>
                  </a:moveTo>
                  <a:lnTo>
                    <a:pt x="22" y="57"/>
                  </a:lnTo>
                  <a:cubicBezTo>
                    <a:pt x="10" y="57"/>
                    <a:pt x="0" y="47"/>
                    <a:pt x="0" y="35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35"/>
                  </a:lnTo>
                  <a:cubicBezTo>
                    <a:pt x="86" y="47"/>
                    <a:pt x="76" y="57"/>
                    <a:pt x="64" y="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3" name="Rectangle 344">
              <a:extLst>
                <a:ext uri="{FF2B5EF4-FFF2-40B4-BE49-F238E27FC236}">
                  <a16:creationId xmlns:a16="http://schemas.microsoft.com/office/drawing/2014/main" id="{4C7EBB43-EDA3-A073-6B18-0851F6E3B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0288" y="5881688"/>
              <a:ext cx="22225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4" name="Rectangle 345">
              <a:extLst>
                <a:ext uri="{FF2B5EF4-FFF2-40B4-BE49-F238E27FC236}">
                  <a16:creationId xmlns:a16="http://schemas.microsoft.com/office/drawing/2014/main" id="{0A8CFC9B-CB0B-4F13-EAC7-CC128C342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0288" y="5926138"/>
              <a:ext cx="22225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5" name="Rectangle 346">
              <a:extLst>
                <a:ext uri="{FF2B5EF4-FFF2-40B4-BE49-F238E27FC236}">
                  <a16:creationId xmlns:a16="http://schemas.microsoft.com/office/drawing/2014/main" id="{1AF2DF08-5A85-ECFC-73A1-52A151E6A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713" y="5373688"/>
              <a:ext cx="22225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7" name="Freeform 347">
              <a:extLst>
                <a:ext uri="{FF2B5EF4-FFF2-40B4-BE49-F238E27FC236}">
                  <a16:creationId xmlns:a16="http://schemas.microsoft.com/office/drawing/2014/main" id="{A85F4AA3-45FD-C291-E2AE-D05B1BD83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76" y="5697538"/>
              <a:ext cx="41275" cy="30163"/>
            </a:xfrm>
            <a:custGeom>
              <a:avLst/>
              <a:gdLst>
                <a:gd name="T0" fmla="*/ 3 w 26"/>
                <a:gd name="T1" fmla="*/ 19 h 19"/>
                <a:gd name="T2" fmla="*/ 0 w 26"/>
                <a:gd name="T3" fmla="*/ 5 h 19"/>
                <a:gd name="T4" fmla="*/ 24 w 26"/>
                <a:gd name="T5" fmla="*/ 0 h 19"/>
                <a:gd name="T6" fmla="*/ 26 w 26"/>
                <a:gd name="T7" fmla="*/ 15 h 19"/>
                <a:gd name="T8" fmla="*/ 3 w 26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3" y="19"/>
                  </a:moveTo>
                  <a:lnTo>
                    <a:pt x="0" y="5"/>
                  </a:lnTo>
                  <a:lnTo>
                    <a:pt x="24" y="0"/>
                  </a:lnTo>
                  <a:lnTo>
                    <a:pt x="26" y="15"/>
                  </a:lnTo>
                  <a:lnTo>
                    <a:pt x="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8" name="Freeform 348">
              <a:extLst>
                <a:ext uri="{FF2B5EF4-FFF2-40B4-BE49-F238E27FC236}">
                  <a16:creationId xmlns:a16="http://schemas.microsoft.com/office/drawing/2014/main" id="{24C3A130-B469-7EE4-85FF-E01FCCD0B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8588" y="5697538"/>
              <a:ext cx="41275" cy="30163"/>
            </a:xfrm>
            <a:custGeom>
              <a:avLst/>
              <a:gdLst>
                <a:gd name="T0" fmla="*/ 23 w 26"/>
                <a:gd name="T1" fmla="*/ 19 h 19"/>
                <a:gd name="T2" fmla="*/ 0 w 26"/>
                <a:gd name="T3" fmla="*/ 15 h 19"/>
                <a:gd name="T4" fmla="*/ 3 w 26"/>
                <a:gd name="T5" fmla="*/ 0 h 19"/>
                <a:gd name="T6" fmla="*/ 26 w 26"/>
                <a:gd name="T7" fmla="*/ 5 h 19"/>
                <a:gd name="T8" fmla="*/ 23 w 26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9">
                  <a:moveTo>
                    <a:pt x="23" y="19"/>
                  </a:moveTo>
                  <a:lnTo>
                    <a:pt x="0" y="15"/>
                  </a:lnTo>
                  <a:lnTo>
                    <a:pt x="3" y="0"/>
                  </a:lnTo>
                  <a:lnTo>
                    <a:pt x="26" y="5"/>
                  </a:lnTo>
                  <a:lnTo>
                    <a:pt x="2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9" name="Freeform 349">
              <a:extLst>
                <a:ext uri="{FF2B5EF4-FFF2-40B4-BE49-F238E27FC236}">
                  <a16:creationId xmlns:a16="http://schemas.microsoft.com/office/drawing/2014/main" id="{55021FC9-D6A3-4DE5-FF15-41E494C39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1113" y="5411788"/>
              <a:ext cx="36513" cy="41275"/>
            </a:xfrm>
            <a:custGeom>
              <a:avLst/>
              <a:gdLst>
                <a:gd name="T0" fmla="*/ 12 w 23"/>
                <a:gd name="T1" fmla="*/ 26 h 26"/>
                <a:gd name="T2" fmla="*/ 0 w 23"/>
                <a:gd name="T3" fmla="*/ 20 h 26"/>
                <a:gd name="T4" fmla="*/ 11 w 23"/>
                <a:gd name="T5" fmla="*/ 0 h 26"/>
                <a:gd name="T6" fmla="*/ 23 w 23"/>
                <a:gd name="T7" fmla="*/ 7 h 26"/>
                <a:gd name="T8" fmla="*/ 12 w 23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6">
                  <a:moveTo>
                    <a:pt x="12" y="26"/>
                  </a:moveTo>
                  <a:lnTo>
                    <a:pt x="0" y="20"/>
                  </a:lnTo>
                  <a:lnTo>
                    <a:pt x="11" y="0"/>
                  </a:lnTo>
                  <a:lnTo>
                    <a:pt x="23" y="7"/>
                  </a:lnTo>
                  <a:lnTo>
                    <a:pt x="12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0" name="Freeform 350">
              <a:extLst>
                <a:ext uri="{FF2B5EF4-FFF2-40B4-BE49-F238E27FC236}">
                  <a16:creationId xmlns:a16="http://schemas.microsoft.com/office/drawing/2014/main" id="{2E395C3C-9E89-6ABA-90CB-D0969FAF6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776" y="5535613"/>
              <a:ext cx="49213" cy="41275"/>
            </a:xfrm>
            <a:custGeom>
              <a:avLst/>
              <a:gdLst>
                <a:gd name="T0" fmla="*/ 7 w 31"/>
                <a:gd name="T1" fmla="*/ 26 h 26"/>
                <a:gd name="T2" fmla="*/ 0 w 31"/>
                <a:gd name="T3" fmla="*/ 13 h 26"/>
                <a:gd name="T4" fmla="*/ 23 w 31"/>
                <a:gd name="T5" fmla="*/ 0 h 26"/>
                <a:gd name="T6" fmla="*/ 31 w 31"/>
                <a:gd name="T7" fmla="*/ 13 h 26"/>
                <a:gd name="T8" fmla="*/ 7 w 3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7" y="26"/>
                  </a:moveTo>
                  <a:lnTo>
                    <a:pt x="0" y="13"/>
                  </a:lnTo>
                  <a:lnTo>
                    <a:pt x="23" y="0"/>
                  </a:lnTo>
                  <a:lnTo>
                    <a:pt x="31" y="13"/>
                  </a:lnTo>
                  <a:lnTo>
                    <a:pt x="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1" name="Freeform 351">
              <a:extLst>
                <a:ext uri="{FF2B5EF4-FFF2-40B4-BE49-F238E27FC236}">
                  <a16:creationId xmlns:a16="http://schemas.microsoft.com/office/drawing/2014/main" id="{6FA63A5F-F011-6474-4C36-AFA9F9087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5411788"/>
              <a:ext cx="39688" cy="41275"/>
            </a:xfrm>
            <a:custGeom>
              <a:avLst/>
              <a:gdLst>
                <a:gd name="T0" fmla="*/ 12 w 25"/>
                <a:gd name="T1" fmla="*/ 26 h 26"/>
                <a:gd name="T2" fmla="*/ 0 w 25"/>
                <a:gd name="T3" fmla="*/ 7 h 26"/>
                <a:gd name="T4" fmla="*/ 13 w 25"/>
                <a:gd name="T5" fmla="*/ 0 h 26"/>
                <a:gd name="T6" fmla="*/ 25 w 25"/>
                <a:gd name="T7" fmla="*/ 20 h 26"/>
                <a:gd name="T8" fmla="*/ 12 w 25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6">
                  <a:moveTo>
                    <a:pt x="12" y="26"/>
                  </a:moveTo>
                  <a:lnTo>
                    <a:pt x="0" y="7"/>
                  </a:lnTo>
                  <a:lnTo>
                    <a:pt x="13" y="0"/>
                  </a:lnTo>
                  <a:lnTo>
                    <a:pt x="25" y="20"/>
                  </a:lnTo>
                  <a:lnTo>
                    <a:pt x="12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2" name="Freeform 352">
              <a:extLst>
                <a:ext uri="{FF2B5EF4-FFF2-40B4-BE49-F238E27FC236}">
                  <a16:creationId xmlns:a16="http://schemas.microsoft.com/office/drawing/2014/main" id="{3142728C-E314-284B-7139-36C54C1CB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8" y="5535613"/>
              <a:ext cx="46038" cy="41275"/>
            </a:xfrm>
            <a:custGeom>
              <a:avLst/>
              <a:gdLst>
                <a:gd name="T0" fmla="*/ 22 w 29"/>
                <a:gd name="T1" fmla="*/ 26 h 26"/>
                <a:gd name="T2" fmla="*/ 0 w 29"/>
                <a:gd name="T3" fmla="*/ 13 h 26"/>
                <a:gd name="T4" fmla="*/ 7 w 29"/>
                <a:gd name="T5" fmla="*/ 0 h 26"/>
                <a:gd name="T6" fmla="*/ 29 w 29"/>
                <a:gd name="T7" fmla="*/ 13 h 26"/>
                <a:gd name="T8" fmla="*/ 22 w 29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6">
                  <a:moveTo>
                    <a:pt x="22" y="26"/>
                  </a:moveTo>
                  <a:lnTo>
                    <a:pt x="0" y="13"/>
                  </a:lnTo>
                  <a:lnTo>
                    <a:pt x="7" y="0"/>
                  </a:lnTo>
                  <a:lnTo>
                    <a:pt x="29" y="13"/>
                  </a:lnTo>
                  <a:lnTo>
                    <a:pt x="22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3" name="Freeform 353">
              <a:extLst>
                <a:ext uri="{FF2B5EF4-FFF2-40B4-BE49-F238E27FC236}">
                  <a16:creationId xmlns:a16="http://schemas.microsoft.com/office/drawing/2014/main" id="{A1B416AE-8DF8-7622-01FB-0116367CA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1563" y="5792788"/>
              <a:ext cx="134938" cy="66675"/>
            </a:xfrm>
            <a:custGeom>
              <a:avLst/>
              <a:gdLst>
                <a:gd name="T0" fmla="*/ 16 w 98"/>
                <a:gd name="T1" fmla="*/ 31 h 48"/>
                <a:gd name="T2" fmla="*/ 82 w 98"/>
                <a:gd name="T3" fmla="*/ 31 h 48"/>
                <a:gd name="T4" fmla="*/ 82 w 98"/>
                <a:gd name="T5" fmla="*/ 17 h 48"/>
                <a:gd name="T6" fmla="*/ 16 w 98"/>
                <a:gd name="T7" fmla="*/ 17 h 48"/>
                <a:gd name="T8" fmla="*/ 16 w 98"/>
                <a:gd name="T9" fmla="*/ 31 h 48"/>
                <a:gd name="T10" fmla="*/ 98 w 98"/>
                <a:gd name="T11" fmla="*/ 48 h 48"/>
                <a:gd name="T12" fmla="*/ 0 w 98"/>
                <a:gd name="T13" fmla="*/ 48 h 48"/>
                <a:gd name="T14" fmla="*/ 0 w 98"/>
                <a:gd name="T15" fmla="*/ 0 h 48"/>
                <a:gd name="T16" fmla="*/ 98 w 98"/>
                <a:gd name="T17" fmla="*/ 0 h 48"/>
                <a:gd name="T18" fmla="*/ 98 w 98"/>
                <a:gd name="T1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48">
                  <a:moveTo>
                    <a:pt x="16" y="31"/>
                  </a:moveTo>
                  <a:lnTo>
                    <a:pt x="82" y="31"/>
                  </a:lnTo>
                  <a:lnTo>
                    <a:pt x="82" y="17"/>
                  </a:lnTo>
                  <a:lnTo>
                    <a:pt x="16" y="17"/>
                  </a:lnTo>
                  <a:lnTo>
                    <a:pt x="16" y="31"/>
                  </a:lnTo>
                  <a:close/>
                  <a:moveTo>
                    <a:pt x="98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98" y="0"/>
                  </a:lnTo>
                  <a:lnTo>
                    <a:pt x="98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2295642B-32F5-8AF3-455E-94580D39C3F1}"/>
              </a:ext>
            </a:extLst>
          </p:cNvPr>
          <p:cNvSpPr/>
          <p:nvPr/>
        </p:nvSpPr>
        <p:spPr>
          <a:xfrm rot="5400000" flipH="1">
            <a:off x="2131878" y="3510091"/>
            <a:ext cx="2603585" cy="416724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33D116-A261-3F02-3063-EF25F6529C01}"/>
              </a:ext>
            </a:extLst>
          </p:cNvPr>
          <p:cNvSpPr/>
          <p:nvPr/>
        </p:nvSpPr>
        <p:spPr>
          <a:xfrm flipH="1">
            <a:off x="822960" y="1631725"/>
            <a:ext cx="2414014" cy="41636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Detailed framework model for comprehensive standards, to ensure that the level of services provided during the applicant journey</a:t>
            </a:r>
            <a:endParaRPr lang="en-US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742385D-52D0-9605-9BBE-3B458F9D4375}"/>
              </a:ext>
            </a:extLst>
          </p:cNvPr>
          <p:cNvSpPr/>
          <p:nvPr/>
        </p:nvSpPr>
        <p:spPr>
          <a:xfrm rot="10800000" flipH="1">
            <a:off x="3802565" y="1631725"/>
            <a:ext cx="7571127" cy="4187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FCF9077-C0E5-7099-9AE7-14B3997906A7}"/>
              </a:ext>
            </a:extLst>
          </p:cNvPr>
          <p:cNvSpPr/>
          <p:nvPr/>
        </p:nvSpPr>
        <p:spPr>
          <a:xfrm flipH="1">
            <a:off x="4140958" y="1945695"/>
            <a:ext cx="2113538" cy="10088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y Requirement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FBC6FEF-CB19-3FA9-1659-5FB7ED943750}"/>
              </a:ext>
            </a:extLst>
          </p:cNvPr>
          <p:cNvSpPr/>
          <p:nvPr/>
        </p:nvSpPr>
        <p:spPr>
          <a:xfrm flipH="1">
            <a:off x="3980705" y="2030351"/>
            <a:ext cx="320511" cy="311452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DDE573-0637-E176-227B-8BC3C983AC84}"/>
              </a:ext>
            </a:extLst>
          </p:cNvPr>
          <p:cNvSpPr/>
          <p:nvPr/>
        </p:nvSpPr>
        <p:spPr>
          <a:xfrm flipH="1">
            <a:off x="4158928" y="3130641"/>
            <a:ext cx="2113539" cy="2375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00"/>
              </a:spcAft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  <a:endParaRPr lang="ar-SA" sz="1400" b="1" dirty="0">
              <a:solidFill>
                <a:srgbClr val="1342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nce and external sign</a:t>
            </a: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iting area</a:t>
            </a: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TV Cameras</a:t>
            </a: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etical test rooms</a:t>
            </a: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al test rooms</a:t>
            </a: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 space (workstation)</a:t>
            </a:r>
          </a:p>
          <a:p>
            <a:pPr marL="285750" marR="0" indent="-1127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rgency exits.</a:t>
            </a:r>
            <a:endParaRPr lang="en-US" sz="1100" dirty="0">
              <a:solidFill>
                <a:srgbClr val="1342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6C3F55E-183B-7D76-381D-B62E39F137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227" y="3907154"/>
            <a:ext cx="1762930" cy="979557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6968EA5-08F3-A8A9-3D06-051A9E1284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1243" y="4449775"/>
            <a:ext cx="1750035" cy="1056031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CDBCB526-7451-2BF5-065C-6E525631EE70}"/>
              </a:ext>
            </a:extLst>
          </p:cNvPr>
          <p:cNvSpPr/>
          <p:nvPr/>
        </p:nvSpPr>
        <p:spPr>
          <a:xfrm flipH="1">
            <a:off x="6574917" y="1921093"/>
            <a:ext cx="2113538" cy="10088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ional Governance 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E46BDABF-C2E5-FB87-A0F1-7C0E48F844DD}"/>
              </a:ext>
            </a:extLst>
          </p:cNvPr>
          <p:cNvSpPr/>
          <p:nvPr/>
        </p:nvSpPr>
        <p:spPr>
          <a:xfrm flipH="1">
            <a:off x="6414664" y="2005749"/>
            <a:ext cx="320511" cy="311452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2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8E4E4A4-2076-D1B7-4E6A-ABDB97C502FD}"/>
              </a:ext>
            </a:extLst>
          </p:cNvPr>
          <p:cNvSpPr/>
          <p:nvPr/>
        </p:nvSpPr>
        <p:spPr>
          <a:xfrm flipH="1">
            <a:off x="6592887" y="3106039"/>
            <a:ext cx="2113539" cy="2375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00"/>
              </a:spcAft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  <a:endParaRPr lang="ar-SA" sz="1400" b="1" dirty="0">
              <a:solidFill>
                <a:srgbClr val="1342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C staff necessary competence</a:t>
            </a: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rnal validator</a:t>
            </a: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C organizational structure</a:t>
            </a: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local building codes</a:t>
            </a: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peals and complaints</a:t>
            </a: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a confidentiality</a:t>
            </a:r>
            <a:endParaRPr kumimoji="0" lang="ar-SA" sz="10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a archiving</a:t>
            </a:r>
            <a:endParaRPr kumimoji="0" lang="ar-SA" sz="10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5F5B1F3-99DC-D07E-CC43-7B1B9C5B6790}"/>
              </a:ext>
            </a:extLst>
          </p:cNvPr>
          <p:cNvSpPr/>
          <p:nvPr/>
        </p:nvSpPr>
        <p:spPr>
          <a:xfrm flipH="1">
            <a:off x="8990904" y="1921093"/>
            <a:ext cx="2113538" cy="10088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ing </a:t>
            </a:r>
            <a:endParaRPr lang="ar-SA" b="1" kern="0" dirty="0">
              <a:solidFill>
                <a:srgbClr val="1342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866238B-6593-F762-453B-7418E94F85C8}"/>
              </a:ext>
            </a:extLst>
          </p:cNvPr>
          <p:cNvSpPr/>
          <p:nvPr/>
        </p:nvSpPr>
        <p:spPr>
          <a:xfrm flipH="1">
            <a:off x="8830651" y="2005749"/>
            <a:ext cx="320511" cy="311452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3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03691FD-A556-18E5-08BD-D67B85308243}"/>
              </a:ext>
            </a:extLst>
          </p:cNvPr>
          <p:cNvSpPr/>
          <p:nvPr/>
        </p:nvSpPr>
        <p:spPr>
          <a:xfrm flipH="1">
            <a:off x="9008874" y="3106039"/>
            <a:ext cx="2113539" cy="2375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200"/>
              </a:spcAft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  <a:endParaRPr lang="ar-SA" sz="1400" b="1" dirty="0">
              <a:solidFill>
                <a:srgbClr val="1342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112713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ndidate identification </a:t>
            </a:r>
          </a:p>
          <a:p>
            <a:pPr marL="22860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ors' development record</a:t>
            </a:r>
          </a:p>
          <a:p>
            <a:pPr marL="22860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's restriction </a:t>
            </a:r>
          </a:p>
          <a:p>
            <a:pPr marL="22860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st </a:t>
            </a: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tructions </a:t>
            </a:r>
          </a:p>
          <a:p>
            <a:pPr marL="22860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ing tools condition</a:t>
            </a:r>
          </a:p>
          <a:p>
            <a:pPr marL="22860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ination materials </a:t>
            </a:r>
          </a:p>
          <a:p>
            <a:pPr marL="228600" marR="0" lvl="0" indent="-11271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or availability during sessio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1629498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-6684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45698" y="1366193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06762"/>
            <a:ext cx="106171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The Quality and Compliance activity are measured through 3 track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3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47F6F0-0CCD-0BAA-4065-C0DC7F6B41EC}"/>
              </a:ext>
            </a:extLst>
          </p:cNvPr>
          <p:cNvSpPr/>
          <p:nvPr/>
        </p:nvSpPr>
        <p:spPr>
          <a:xfrm flipH="1">
            <a:off x="1098958" y="1672850"/>
            <a:ext cx="2970119" cy="41783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F88C126-63BD-98C9-3824-B912DE64F5CC}"/>
              </a:ext>
            </a:extLst>
          </p:cNvPr>
          <p:cNvSpPr txBox="1">
            <a:spLocks/>
          </p:cNvSpPr>
          <p:nvPr/>
        </p:nvSpPr>
        <p:spPr>
          <a:xfrm>
            <a:off x="1225296" y="2541588"/>
            <a:ext cx="2670047" cy="5216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A5CFF"/>
                </a:solidFill>
                <a:latin typeface="TT Norms Medium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rt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2000" b="1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s Monitor 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B517AD84-2283-FB43-21E4-59C3354268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9637" y="4331313"/>
            <a:ext cx="2174514" cy="14199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F221EA00-ABAC-F06C-7862-6BABAC607D23}"/>
              </a:ext>
            </a:extLst>
          </p:cNvPr>
          <p:cNvSpPr/>
          <p:nvPr/>
        </p:nvSpPr>
        <p:spPr>
          <a:xfrm>
            <a:off x="1293874" y="3192305"/>
            <a:ext cx="2606041" cy="123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>
              <a:lnSpc>
                <a:spcPct val="110000"/>
              </a:lnSpc>
              <a:defRPr/>
            </a:pPr>
            <a:r>
              <a:rPr lang="en-US" sz="12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ng theoretical and practical test sessions and evaluating the centers' adherence to standards, in addition to ensuring compliance with the required forms.</a:t>
            </a:r>
            <a:endParaRPr lang="ar-SA" sz="1200" dirty="0">
              <a:solidFill>
                <a:srgbClr val="13425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10BCE1B-75B9-959E-4330-AE34567838AB}"/>
              </a:ext>
            </a:extLst>
          </p:cNvPr>
          <p:cNvSpPr/>
          <p:nvPr/>
        </p:nvSpPr>
        <p:spPr>
          <a:xfrm flipH="1">
            <a:off x="4617464" y="1662644"/>
            <a:ext cx="2970119" cy="41783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87B8473A-EA56-CB74-D9FD-051773E34F9E}"/>
              </a:ext>
            </a:extLst>
          </p:cNvPr>
          <p:cNvSpPr txBox="1">
            <a:spLocks/>
          </p:cNvSpPr>
          <p:nvPr/>
        </p:nvSpPr>
        <p:spPr>
          <a:xfrm>
            <a:off x="4743802" y="2541588"/>
            <a:ext cx="2670047" cy="5216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A5CFF"/>
                </a:solidFill>
                <a:latin typeface="TT Norms Medium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1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spection visits </a:t>
            </a:r>
            <a:endParaRPr kumimoji="0" lang="ar-SA" sz="2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10DA9FA-A733-3C05-AA16-D90482E687A0}"/>
              </a:ext>
            </a:extLst>
          </p:cNvPr>
          <p:cNvSpPr/>
          <p:nvPr/>
        </p:nvSpPr>
        <p:spPr>
          <a:xfrm>
            <a:off x="4812380" y="3182099"/>
            <a:ext cx="2606041" cy="123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>
              <a:lnSpc>
                <a:spcPct val="110000"/>
              </a:lnSpc>
              <a:defRPr/>
            </a:pPr>
            <a:r>
              <a:rPr lang="en-US" sz="12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ng the performance of test centers through the implementation of field visits to ensure compliance with the requirements and standards of the program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C98BAF6-7F34-7DDB-4B7C-9E74C698883E}"/>
              </a:ext>
            </a:extLst>
          </p:cNvPr>
          <p:cNvSpPr/>
          <p:nvPr/>
        </p:nvSpPr>
        <p:spPr>
          <a:xfrm flipH="1">
            <a:off x="8103010" y="1672850"/>
            <a:ext cx="2970119" cy="41783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62DDE10A-202F-D286-5D38-C47A13B357C2}"/>
              </a:ext>
            </a:extLst>
          </p:cNvPr>
          <p:cNvSpPr txBox="1">
            <a:spLocks/>
          </p:cNvSpPr>
          <p:nvPr/>
        </p:nvSpPr>
        <p:spPr>
          <a:xfrm>
            <a:off x="8229348" y="2541588"/>
            <a:ext cx="2670047" cy="5216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A5CFF"/>
                </a:solidFill>
                <a:latin typeface="TT Norms Medium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rt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2000" b="1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domized </a:t>
            </a:r>
          </a:p>
          <a:p>
            <a:pPr algn="ctr" defTabSz="457200" rt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2000" b="1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Checks</a:t>
            </a:r>
            <a:endParaRPr lang="ar-SA" sz="2000" b="1" dirty="0">
              <a:solidFill>
                <a:srgbClr val="1582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3B41815-9034-02E8-C5CA-C16ED0CF8F76}"/>
              </a:ext>
            </a:extLst>
          </p:cNvPr>
          <p:cNvSpPr/>
          <p:nvPr/>
        </p:nvSpPr>
        <p:spPr>
          <a:xfrm>
            <a:off x="8297926" y="3192305"/>
            <a:ext cx="2606041" cy="123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457200">
              <a:lnSpc>
                <a:spcPct val="110000"/>
              </a:lnSpc>
              <a:defRPr/>
            </a:pPr>
            <a:r>
              <a:rPr lang="en-US" sz="12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ting examinations on samples of workers arriving to KSA from various countries and testing centers to assess the quality of program implementation.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FF7CF33B-BD0A-4BA6-0C00-80DF4E3677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4474" y="4321269"/>
            <a:ext cx="2174514" cy="14146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44113511-F4A1-6FBF-533D-1842B8B41B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8827" y="4332501"/>
            <a:ext cx="2191087" cy="13810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53FA7CDE-DAF0-9BAD-53EA-8853694EAB87}"/>
              </a:ext>
            </a:extLst>
          </p:cNvPr>
          <p:cNvGrpSpPr/>
          <p:nvPr/>
        </p:nvGrpSpPr>
        <p:grpSpPr>
          <a:xfrm>
            <a:off x="791079" y="1450401"/>
            <a:ext cx="1049563" cy="1161338"/>
            <a:chOff x="6484890" y="3789638"/>
            <a:chExt cx="1385008" cy="1554282"/>
          </a:xfrm>
        </p:grpSpPr>
        <p:sp>
          <p:nvSpPr>
            <p:cNvPr id="73" name="Ellipse 48">
              <a:extLst>
                <a:ext uri="{FF2B5EF4-FFF2-40B4-BE49-F238E27FC236}">
                  <a16:creationId xmlns:a16="http://schemas.microsoft.com/office/drawing/2014/main" id="{B6773C66-7A59-AA95-2853-A738AEC14B5D}"/>
                </a:ext>
              </a:extLst>
            </p:cNvPr>
            <p:cNvSpPr/>
            <p:nvPr/>
          </p:nvSpPr>
          <p:spPr>
            <a:xfrm rot="8257680">
              <a:off x="6623622" y="3931442"/>
              <a:ext cx="1104600" cy="11212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74" name="Forme libre : forme 40">
              <a:extLst>
                <a:ext uri="{FF2B5EF4-FFF2-40B4-BE49-F238E27FC236}">
                  <a16:creationId xmlns:a16="http://schemas.microsoft.com/office/drawing/2014/main" id="{B78BD70B-03A5-2F14-61E0-2A6AE8D94873}"/>
                </a:ext>
              </a:extLst>
            </p:cNvPr>
            <p:cNvSpPr/>
            <p:nvPr/>
          </p:nvSpPr>
          <p:spPr>
            <a:xfrm rot="8324997">
              <a:off x="6484890" y="3789638"/>
              <a:ext cx="1385008" cy="1395869"/>
            </a:xfrm>
            <a:prstGeom prst="donut">
              <a:avLst>
                <a:gd name="adj" fmla="val 10505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76" name="Forme libre : forme 22">
              <a:extLst>
                <a:ext uri="{FF2B5EF4-FFF2-40B4-BE49-F238E27FC236}">
                  <a16:creationId xmlns:a16="http://schemas.microsoft.com/office/drawing/2014/main" id="{5DCF1E90-2E94-D623-693A-0A71148BA900}"/>
                </a:ext>
              </a:extLst>
            </p:cNvPr>
            <p:cNvSpPr/>
            <p:nvPr/>
          </p:nvSpPr>
          <p:spPr>
            <a:xfrm rot="19282465">
              <a:off x="7005673" y="5341618"/>
              <a:ext cx="22356" cy="2302"/>
            </a:xfrm>
            <a:custGeom>
              <a:avLst/>
              <a:gdLst>
                <a:gd name="connsiteX0" fmla="*/ 19040 w 19040"/>
                <a:gd name="connsiteY0" fmla="*/ 0 h 1932"/>
                <a:gd name="connsiteX1" fmla="*/ 19040 w 19040"/>
                <a:gd name="connsiteY1" fmla="*/ 1932 h 1932"/>
                <a:gd name="connsiteX2" fmla="*/ 0 w 19040"/>
                <a:gd name="connsiteY2" fmla="*/ 1932 h 1932"/>
                <a:gd name="connsiteX3" fmla="*/ 19040 w 19040"/>
                <a:gd name="connsiteY3" fmla="*/ 0 h 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" h="1932">
                  <a:moveTo>
                    <a:pt x="19040" y="0"/>
                  </a:moveTo>
                  <a:lnTo>
                    <a:pt x="19040" y="1932"/>
                  </a:lnTo>
                  <a:lnTo>
                    <a:pt x="0" y="1932"/>
                  </a:lnTo>
                  <a:lnTo>
                    <a:pt x="19040" y="0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9A3CF3E-1A96-1DA8-ED35-3B46625A7B55}"/>
              </a:ext>
            </a:extLst>
          </p:cNvPr>
          <p:cNvGrpSpPr/>
          <p:nvPr/>
        </p:nvGrpSpPr>
        <p:grpSpPr>
          <a:xfrm>
            <a:off x="7919795" y="1450401"/>
            <a:ext cx="1049563" cy="1161338"/>
            <a:chOff x="6484890" y="3789638"/>
            <a:chExt cx="1385008" cy="1554282"/>
          </a:xfrm>
        </p:grpSpPr>
        <p:sp>
          <p:nvSpPr>
            <p:cNvPr id="79" name="Ellipse 48">
              <a:extLst>
                <a:ext uri="{FF2B5EF4-FFF2-40B4-BE49-F238E27FC236}">
                  <a16:creationId xmlns:a16="http://schemas.microsoft.com/office/drawing/2014/main" id="{03FFF6B8-BDE7-2FAD-7789-372DDB895885}"/>
                </a:ext>
              </a:extLst>
            </p:cNvPr>
            <p:cNvSpPr/>
            <p:nvPr/>
          </p:nvSpPr>
          <p:spPr>
            <a:xfrm rot="8257680">
              <a:off x="6623622" y="3931442"/>
              <a:ext cx="1104600" cy="11212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80" name="Forme libre : forme 40">
              <a:extLst>
                <a:ext uri="{FF2B5EF4-FFF2-40B4-BE49-F238E27FC236}">
                  <a16:creationId xmlns:a16="http://schemas.microsoft.com/office/drawing/2014/main" id="{281D5EF8-1C36-314E-D7FB-25EB9B5683AA}"/>
                </a:ext>
              </a:extLst>
            </p:cNvPr>
            <p:cNvSpPr/>
            <p:nvPr/>
          </p:nvSpPr>
          <p:spPr>
            <a:xfrm rot="8324997">
              <a:off x="6484890" y="3789638"/>
              <a:ext cx="1385008" cy="1395869"/>
            </a:xfrm>
            <a:prstGeom prst="donut">
              <a:avLst>
                <a:gd name="adj" fmla="val 10505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81" name="Forme libre : forme 22">
              <a:extLst>
                <a:ext uri="{FF2B5EF4-FFF2-40B4-BE49-F238E27FC236}">
                  <a16:creationId xmlns:a16="http://schemas.microsoft.com/office/drawing/2014/main" id="{3D1062F6-BB34-4F13-9712-D24069D6485B}"/>
                </a:ext>
              </a:extLst>
            </p:cNvPr>
            <p:cNvSpPr/>
            <p:nvPr/>
          </p:nvSpPr>
          <p:spPr>
            <a:xfrm rot="19282465">
              <a:off x="7005673" y="5341618"/>
              <a:ext cx="22356" cy="2302"/>
            </a:xfrm>
            <a:custGeom>
              <a:avLst/>
              <a:gdLst>
                <a:gd name="connsiteX0" fmla="*/ 19040 w 19040"/>
                <a:gd name="connsiteY0" fmla="*/ 0 h 1932"/>
                <a:gd name="connsiteX1" fmla="*/ 19040 w 19040"/>
                <a:gd name="connsiteY1" fmla="*/ 1932 h 1932"/>
                <a:gd name="connsiteX2" fmla="*/ 0 w 19040"/>
                <a:gd name="connsiteY2" fmla="*/ 1932 h 1932"/>
                <a:gd name="connsiteX3" fmla="*/ 19040 w 19040"/>
                <a:gd name="connsiteY3" fmla="*/ 0 h 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" h="1932">
                  <a:moveTo>
                    <a:pt x="19040" y="0"/>
                  </a:moveTo>
                  <a:lnTo>
                    <a:pt x="19040" y="1932"/>
                  </a:lnTo>
                  <a:lnTo>
                    <a:pt x="0" y="1932"/>
                  </a:lnTo>
                  <a:lnTo>
                    <a:pt x="19040" y="0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pic>
          <p:nvPicPr>
            <p:cNvPr id="82" name="Graphic 81" descr="Target Audience outline">
              <a:extLst>
                <a:ext uri="{FF2B5EF4-FFF2-40B4-BE49-F238E27FC236}">
                  <a16:creationId xmlns:a16="http://schemas.microsoft.com/office/drawing/2014/main" id="{20ABEA6D-7376-02C0-EDB8-AFEBC5C53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86951" y="4003471"/>
              <a:ext cx="1006966" cy="1006966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481DC042-4161-52F8-4A69-04276BE98488}"/>
              </a:ext>
            </a:extLst>
          </p:cNvPr>
          <p:cNvGrpSpPr/>
          <p:nvPr/>
        </p:nvGrpSpPr>
        <p:grpSpPr>
          <a:xfrm>
            <a:off x="4465903" y="1450401"/>
            <a:ext cx="1049563" cy="1161338"/>
            <a:chOff x="6484890" y="3789638"/>
            <a:chExt cx="1385008" cy="1554282"/>
          </a:xfrm>
        </p:grpSpPr>
        <p:sp>
          <p:nvSpPr>
            <p:cNvPr id="84" name="Ellipse 48">
              <a:extLst>
                <a:ext uri="{FF2B5EF4-FFF2-40B4-BE49-F238E27FC236}">
                  <a16:creationId xmlns:a16="http://schemas.microsoft.com/office/drawing/2014/main" id="{F09B002F-B5A6-2FD6-653D-5427B0C3FA4C}"/>
                </a:ext>
              </a:extLst>
            </p:cNvPr>
            <p:cNvSpPr/>
            <p:nvPr/>
          </p:nvSpPr>
          <p:spPr>
            <a:xfrm rot="8257680">
              <a:off x="6623622" y="3931442"/>
              <a:ext cx="1104600" cy="11212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85" name="Forme libre : forme 40">
              <a:extLst>
                <a:ext uri="{FF2B5EF4-FFF2-40B4-BE49-F238E27FC236}">
                  <a16:creationId xmlns:a16="http://schemas.microsoft.com/office/drawing/2014/main" id="{1DC05BC7-DAD5-4E47-B4C5-4E325F45374A}"/>
                </a:ext>
              </a:extLst>
            </p:cNvPr>
            <p:cNvSpPr/>
            <p:nvPr/>
          </p:nvSpPr>
          <p:spPr>
            <a:xfrm rot="8324997">
              <a:off x="6484890" y="3789638"/>
              <a:ext cx="1385008" cy="1395869"/>
            </a:xfrm>
            <a:prstGeom prst="donut">
              <a:avLst>
                <a:gd name="adj" fmla="val 10505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86" name="Forme libre : forme 22">
              <a:extLst>
                <a:ext uri="{FF2B5EF4-FFF2-40B4-BE49-F238E27FC236}">
                  <a16:creationId xmlns:a16="http://schemas.microsoft.com/office/drawing/2014/main" id="{A0DC191A-E6E2-C463-13C3-6057F92DEAA8}"/>
                </a:ext>
              </a:extLst>
            </p:cNvPr>
            <p:cNvSpPr/>
            <p:nvPr/>
          </p:nvSpPr>
          <p:spPr>
            <a:xfrm rot="19282465">
              <a:off x="7005673" y="5341618"/>
              <a:ext cx="22356" cy="2302"/>
            </a:xfrm>
            <a:custGeom>
              <a:avLst/>
              <a:gdLst>
                <a:gd name="connsiteX0" fmla="*/ 19040 w 19040"/>
                <a:gd name="connsiteY0" fmla="*/ 0 h 1932"/>
                <a:gd name="connsiteX1" fmla="*/ 19040 w 19040"/>
                <a:gd name="connsiteY1" fmla="*/ 1932 h 1932"/>
                <a:gd name="connsiteX2" fmla="*/ 0 w 19040"/>
                <a:gd name="connsiteY2" fmla="*/ 1932 h 1932"/>
                <a:gd name="connsiteX3" fmla="*/ 19040 w 19040"/>
                <a:gd name="connsiteY3" fmla="*/ 0 h 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" h="1932">
                  <a:moveTo>
                    <a:pt x="19040" y="0"/>
                  </a:moveTo>
                  <a:lnTo>
                    <a:pt x="19040" y="1932"/>
                  </a:lnTo>
                  <a:lnTo>
                    <a:pt x="0" y="1932"/>
                  </a:lnTo>
                  <a:lnTo>
                    <a:pt x="19040" y="0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pic>
        <p:nvPicPr>
          <p:cNvPr id="88" name="Graphic 87" descr="Security camera outline">
            <a:extLst>
              <a:ext uri="{FF2B5EF4-FFF2-40B4-BE49-F238E27FC236}">
                <a16:creationId xmlns:a16="http://schemas.microsoft.com/office/drawing/2014/main" id="{2AF6A2A5-DC36-BD97-A5E7-B92EB3B9A66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3068" y="1636179"/>
            <a:ext cx="649387" cy="649387"/>
          </a:xfrm>
          <a:prstGeom prst="rect">
            <a:avLst/>
          </a:prstGeom>
        </p:spPr>
      </p:pic>
      <p:pic>
        <p:nvPicPr>
          <p:cNvPr id="89" name="Graphic 88" descr="Clipboard Partially Checked outline">
            <a:extLst>
              <a:ext uri="{FF2B5EF4-FFF2-40B4-BE49-F238E27FC236}">
                <a16:creationId xmlns:a16="http://schemas.microsoft.com/office/drawing/2014/main" id="{421BC377-B7BC-2075-310E-8324390079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93130" y="1655252"/>
            <a:ext cx="610087" cy="610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2369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-6684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46183" y="1395387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Skills Verification Program Platform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3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736FA45-39C2-0BB6-5959-0713632BA596}"/>
              </a:ext>
            </a:extLst>
          </p:cNvPr>
          <p:cNvGrpSpPr/>
          <p:nvPr/>
        </p:nvGrpSpPr>
        <p:grpSpPr>
          <a:xfrm>
            <a:off x="9315660" y="1803252"/>
            <a:ext cx="2088755" cy="3417972"/>
            <a:chOff x="3095893" y="1803252"/>
            <a:chExt cx="2573386" cy="341797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BA37DB4-9298-1F8B-E069-73B6BDA688BD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8A0BE3A2-ABA5-F2DC-CA05-C06EA80376B2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ovides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24/7 customer care service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, in different channels: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chnical Support Ticket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mail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hatbot 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ocial Media Platform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B6FCB52-2DD0-F601-2C5C-5A803F91F3BB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19063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ustomer care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1D12475-9DDD-E4E8-E688-514FAE40C517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5" name="Picture 3">
            <a:extLst>
              <a:ext uri="{FF2B5EF4-FFF2-40B4-BE49-F238E27FC236}">
                <a16:creationId xmlns:a16="http://schemas.microsoft.com/office/drawing/2014/main" id="{99A609E7-0E70-CB5C-5812-FB1AFE5E33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833" y="4849404"/>
            <a:ext cx="277785" cy="258266"/>
          </a:xfrm>
          <a:prstGeom prst="rect">
            <a:avLst/>
          </a:prstGeom>
          <a:noFill/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BEA1304-5AD1-47A5-2B97-E06BEE4C85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6187" y="4851335"/>
            <a:ext cx="270984" cy="298083"/>
          </a:xfrm>
          <a:prstGeom prst="rect">
            <a:avLst/>
          </a:prstGeom>
          <a:noFill/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E055D6D-DD2E-7F8F-D881-5C6A76B97B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63122" y="4800215"/>
            <a:ext cx="325770" cy="3583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29">
            <a:hlinkClick r:id="rId6"/>
            <a:extLst>
              <a:ext uri="{FF2B5EF4-FFF2-40B4-BE49-F238E27FC236}">
                <a16:creationId xmlns:a16="http://schemas.microsoft.com/office/drawing/2014/main" id="{16F9B249-000E-82E3-3FA6-20793D4531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8767" y="4361579"/>
            <a:ext cx="332387" cy="38651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753FE01-8C44-6B91-805E-44851D8528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7153" y="3091297"/>
            <a:ext cx="2094677" cy="120670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F84823B-0417-349B-7BF6-4F437BC0D05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29941" y="4789267"/>
            <a:ext cx="334001" cy="33400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C36D690-1C2E-5EAF-39C9-2FA666480551}"/>
              </a:ext>
            </a:extLst>
          </p:cNvPr>
          <p:cNvSpPr/>
          <p:nvPr/>
        </p:nvSpPr>
        <p:spPr>
          <a:xfrm>
            <a:off x="1958109" y="4398700"/>
            <a:ext cx="477151" cy="1666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Link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B792234-572B-310F-D0C1-D77674EA15E8}"/>
              </a:ext>
            </a:extLst>
          </p:cNvPr>
          <p:cNvGrpSpPr/>
          <p:nvPr/>
        </p:nvGrpSpPr>
        <p:grpSpPr>
          <a:xfrm>
            <a:off x="2812429" y="1803252"/>
            <a:ext cx="2088755" cy="3417972"/>
            <a:chOff x="3095893" y="1803252"/>
            <a:chExt cx="2573386" cy="341797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F335679-B7BE-EB8D-9587-2EF9A6ED9B50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B0625FB7-C6B9-C642-1EBD-44AB1C10AA5A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ervice allows the candidate to: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reate a personal profile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elect targeted occupation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Book a suitable exam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rack a status of the exam result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3425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E17F8F9A-418F-0AFB-2090-B5361611723D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Registration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E4A9B5F-87F9-8A1F-FEB1-EBFB6B0279FC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328DB3-6C3B-FDC8-DBB3-4BEA62B8438D}"/>
              </a:ext>
            </a:extLst>
          </p:cNvPr>
          <p:cNvGrpSpPr/>
          <p:nvPr/>
        </p:nvGrpSpPr>
        <p:grpSpPr>
          <a:xfrm>
            <a:off x="4975225" y="1803252"/>
            <a:ext cx="2088755" cy="3417972"/>
            <a:chOff x="3095893" y="1803252"/>
            <a:chExt cx="2573386" cy="341797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2E14136-DEC1-98FD-67B9-53403970B830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5EE2DEAA-CA37-E9BD-DAEA-5C360654231F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valuation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of the candidate skills through (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heoretical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actical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) tests</a:t>
                </a: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38A9503-D00B-887B-3FB0-02BD53BB0339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Verification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6A8EA73-61F9-19CB-5285-946A69E83689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73A3091-6486-684D-D132-2B3BA49C826F}"/>
              </a:ext>
            </a:extLst>
          </p:cNvPr>
          <p:cNvGrpSpPr/>
          <p:nvPr/>
        </p:nvGrpSpPr>
        <p:grpSpPr>
          <a:xfrm>
            <a:off x="7152864" y="1803252"/>
            <a:ext cx="2088755" cy="3417972"/>
            <a:chOff x="3095893" y="1803252"/>
            <a:chExt cx="2573386" cy="341797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73A4D32-EB1A-5CC6-30F5-4DE9FFE03182}"/>
                </a:ext>
              </a:extLst>
            </p:cNvPr>
            <p:cNvGrpSpPr/>
            <p:nvPr/>
          </p:nvGrpSpPr>
          <p:grpSpPr>
            <a:xfrm>
              <a:off x="3369054" y="1803252"/>
              <a:ext cx="2300225" cy="3417972"/>
              <a:chOff x="3369054" y="1803252"/>
              <a:chExt cx="2300225" cy="3417972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D0BD124D-A1B1-741F-600A-2EB4076863DD}"/>
                  </a:ext>
                </a:extLst>
              </p:cNvPr>
              <p:cNvSpPr/>
              <p:nvPr/>
            </p:nvSpPr>
            <p:spPr>
              <a:xfrm>
                <a:off x="3369055" y="1803252"/>
                <a:ext cx="2291081" cy="3394478"/>
              </a:xfrm>
              <a:prstGeom prst="roundRect">
                <a:avLst/>
              </a:pr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ssuing the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ertificates for the passed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andidates with a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34258"/>
                    </a:solidFill>
                    <a:effectLst/>
                    <a:highlight>
                      <a:srgbClr val="FFFFFF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validity for up to 5 years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D6353C83-D518-DA7B-CA47-D91A8850AE88}"/>
                  </a:ext>
                </a:extLst>
              </p:cNvPr>
              <p:cNvSpPr/>
              <p:nvPr/>
            </p:nvSpPr>
            <p:spPr>
              <a:xfrm>
                <a:off x="3369054" y="4745736"/>
                <a:ext cx="2300225" cy="47548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ertification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D2AA2D5-73A7-3EB3-7981-72B36E211E34}"/>
                </a:ext>
              </a:extLst>
            </p:cNvPr>
            <p:cNvSpPr/>
            <p:nvPr/>
          </p:nvSpPr>
          <p:spPr>
            <a:xfrm>
              <a:off x="3095893" y="4736730"/>
              <a:ext cx="546324" cy="47535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>
              <a:outerShdw blurRad="50800" dist="50800" dir="5400000" sx="1000" sy="1000" algn="ctr" rotWithShape="0">
                <a:prstClr val="white">
                  <a:alpha val="43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" name="Picture 5">
            <a:extLst>
              <a:ext uri="{FF2B5EF4-FFF2-40B4-BE49-F238E27FC236}">
                <a16:creationId xmlns:a16="http://schemas.microsoft.com/office/drawing/2014/main" id="{173AE3DF-B05A-E619-FE9A-441CC83DAF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996" y="4789266"/>
            <a:ext cx="443411" cy="443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">
            <a:extLst>
              <a:ext uri="{FF2B5EF4-FFF2-40B4-BE49-F238E27FC236}">
                <a16:creationId xmlns:a16="http://schemas.microsoft.com/office/drawing/2014/main" id="{9C636160-E6DD-B9FF-DB09-96F9A0D918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810" y="4816686"/>
            <a:ext cx="332732" cy="33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C498EDE-8B0A-BE5B-AB0E-40234CF9D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6611" y="4816686"/>
            <a:ext cx="306917" cy="337609"/>
          </a:xfrm>
          <a:prstGeom prst="rect">
            <a:avLst/>
          </a:prstGeom>
          <a:noFill/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80FDDDB-3D82-03E6-02D8-1F67BA2A737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49382" y="3542054"/>
            <a:ext cx="1510016" cy="1117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865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logo with text on it&#10;&#10;Description automatically generated">
            <a:extLst>
              <a:ext uri="{FF2B5EF4-FFF2-40B4-BE49-F238E27FC236}">
                <a16:creationId xmlns:a16="http://schemas.microsoft.com/office/drawing/2014/main" id="{17832052-053F-941A-E5F1-FAB73470C11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70"/>
          <a:stretch/>
        </p:blipFill>
        <p:spPr>
          <a:xfrm>
            <a:off x="-180478" y="-253624"/>
            <a:ext cx="1367701" cy="158924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D76010B9-B283-8B18-D9E7-597CC641ADDC}"/>
              </a:ext>
            </a:extLst>
          </p:cNvPr>
          <p:cNvSpPr/>
          <p:nvPr/>
        </p:nvSpPr>
        <p:spPr>
          <a:xfrm>
            <a:off x="560715" y="4666891"/>
            <a:ext cx="2001329" cy="189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43E9A22A-9908-E56E-4272-02B2DC732045}"/>
              </a:ext>
            </a:extLst>
          </p:cNvPr>
          <p:cNvSpPr>
            <a:spLocks/>
          </p:cNvSpPr>
          <p:nvPr/>
        </p:nvSpPr>
        <p:spPr>
          <a:xfrm>
            <a:off x="1002552" y="1355758"/>
            <a:ext cx="10063306" cy="4459504"/>
          </a:xfrm>
          <a:prstGeom prst="round2SameRect">
            <a:avLst>
              <a:gd name="adj1" fmla="val 0"/>
              <a:gd name="adj2" fmla="val 4407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15900" sx="101000" sy="101000" algn="ctr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algn="ctr" rtl="1">
              <a:defRPr/>
            </a:pPr>
            <a:endParaRPr lang="en-GB" sz="16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62F7626B-BD3D-3CA7-21ED-9FA5886B2307}"/>
              </a:ext>
            </a:extLst>
          </p:cNvPr>
          <p:cNvSpPr txBox="1">
            <a:spLocks/>
          </p:cNvSpPr>
          <p:nvPr/>
        </p:nvSpPr>
        <p:spPr>
          <a:xfrm rot="5400000">
            <a:off x="-6053" y="2359000"/>
            <a:ext cx="4459504" cy="2453019"/>
          </a:xfrm>
          <a:prstGeom prst="round2SameRect">
            <a:avLst>
              <a:gd name="adj1" fmla="val 7299"/>
              <a:gd name="adj2" fmla="val 0"/>
            </a:avLst>
          </a:prstGeom>
          <a:solidFill>
            <a:srgbClr val="158284">
              <a:lumMod val="75000"/>
            </a:srgbClr>
          </a:solidFill>
          <a:ln>
            <a:noFill/>
          </a:ln>
          <a:effectLst>
            <a:outerShdw blurRad="177800" dist="38100" dir="2700000" algn="tl" rotWithShape="0">
              <a:prstClr val="black">
                <a:alpha val="18000"/>
              </a:prstClr>
            </a:outerShdw>
          </a:effectLst>
        </p:spPr>
        <p:txBody>
          <a:bodyPr vert="horz" wrap="square" lIns="91440" tIns="0" rIns="91440" bIns="0" rtlCol="0" anchor="ctr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>
                <a:solidFill>
                  <a:schemeClr val="accent1"/>
                </a:solidFill>
                <a:latin typeface="29LT Bukra" panose="020B0504040000000004" pitchFamily="34" charset="-78"/>
                <a:ea typeface="+mj-ea"/>
                <a:cs typeface="29LT Bukra" panose="020B0504040000000004" pitchFamily="34" charset="-78"/>
              </a:defRPr>
            </a:lvl1pPr>
          </a:lstStyle>
          <a:p>
            <a:pPr algn="l" rtl="0">
              <a:defRPr/>
            </a:pPr>
            <a:endParaRPr lang="ar-SA" sz="36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621A41F2-3B89-7C4C-9FCA-894439DD0280}"/>
              </a:ext>
            </a:extLst>
          </p:cNvPr>
          <p:cNvSpPr txBox="1">
            <a:spLocks/>
          </p:cNvSpPr>
          <p:nvPr/>
        </p:nvSpPr>
        <p:spPr>
          <a:xfrm rot="10800000" flipV="1">
            <a:off x="1335594" y="1934349"/>
            <a:ext cx="1971141" cy="3246368"/>
          </a:xfrm>
          <a:prstGeom prst="round2DiagRect">
            <a:avLst>
              <a:gd name="adj1" fmla="val 17784"/>
              <a:gd name="adj2" fmla="val 0"/>
            </a:avLst>
          </a:prstGeom>
          <a:solidFill>
            <a:srgbClr val="158284"/>
          </a:solidFill>
          <a:ln>
            <a:noFill/>
          </a:ln>
          <a:effectLst>
            <a:outerShdw blurRad="203200" dist="38100" dir="2700000" algn="tl" rotWithShape="0">
              <a:prstClr val="black">
                <a:alpha val="12000"/>
              </a:prstClr>
            </a:outerShdw>
          </a:effectLst>
        </p:spPr>
        <p:txBody>
          <a:bodyPr vert="horz" wrap="square" lIns="288000" tIns="1008000" rIns="91440" bIns="0" rtlCol="0" anchor="ctr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>
                <a:solidFill>
                  <a:schemeClr val="accent1"/>
                </a:solidFill>
                <a:latin typeface="29LT Bukra" panose="020B0504040000000004" pitchFamily="34" charset="-78"/>
                <a:ea typeface="+mj-ea"/>
                <a:cs typeface="29LT Bukra" panose="020B0504040000000004" pitchFamily="34" charset="-78"/>
              </a:defRPr>
            </a:lvl1pPr>
          </a:lstStyle>
          <a:p>
            <a:pPr algn="l" rtl="0">
              <a:defRPr/>
            </a:pPr>
            <a:r>
              <a:rPr lang="en-US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ar-SA" sz="2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6C11BBD-B417-B2D7-2834-CE55D72A1FAF}"/>
              </a:ext>
            </a:extLst>
          </p:cNvPr>
          <p:cNvSpPr/>
          <p:nvPr/>
        </p:nvSpPr>
        <p:spPr>
          <a:xfrm>
            <a:off x="1425626" y="4416515"/>
            <a:ext cx="1748823" cy="45719"/>
          </a:xfrm>
          <a:prstGeom prst="rect">
            <a:avLst/>
          </a:prstGeom>
          <a:solidFill>
            <a:srgbClr val="FCB6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rtl="1">
              <a:defRPr/>
            </a:pPr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96B2BFFB-184A-0C90-38C9-0C29B94D747F}"/>
              </a:ext>
            </a:extLst>
          </p:cNvPr>
          <p:cNvSpPr/>
          <p:nvPr/>
        </p:nvSpPr>
        <p:spPr>
          <a:xfrm>
            <a:off x="1503839" y="2469732"/>
            <a:ext cx="761647" cy="761647"/>
          </a:xfrm>
          <a:prstGeom prst="ellipse">
            <a:avLst/>
          </a:prstGeom>
          <a:solidFill>
            <a:srgbClr val="158284"/>
          </a:solidFill>
          <a:ln w="254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rtl="1">
              <a:defRPr/>
            </a:pPr>
            <a:endParaRPr lang="en-US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5E57429-9038-F95C-E1EC-2C2BCBD51FF9}"/>
              </a:ext>
            </a:extLst>
          </p:cNvPr>
          <p:cNvGrpSpPr/>
          <p:nvPr/>
        </p:nvGrpSpPr>
        <p:grpSpPr>
          <a:xfrm>
            <a:off x="1713514" y="2624047"/>
            <a:ext cx="440398" cy="440397"/>
            <a:chOff x="9155113" y="2168525"/>
            <a:chExt cx="360363" cy="360363"/>
          </a:xfrm>
          <a:solidFill>
            <a:srgbClr val="FFFFFF"/>
          </a:solidFill>
        </p:grpSpPr>
        <p:sp>
          <p:nvSpPr>
            <p:cNvPr id="42" name="Freeform 91">
              <a:extLst>
                <a:ext uri="{FF2B5EF4-FFF2-40B4-BE49-F238E27FC236}">
                  <a16:creationId xmlns:a16="http://schemas.microsoft.com/office/drawing/2014/main" id="{69DD737E-5C20-0CC2-3246-0D6D80CEF6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36088" y="2347913"/>
              <a:ext cx="179388" cy="180975"/>
            </a:xfrm>
            <a:custGeom>
              <a:avLst/>
              <a:gdLst>
                <a:gd name="T0" fmla="*/ 33 w 794"/>
                <a:gd name="T1" fmla="*/ 794 h 794"/>
                <a:gd name="T2" fmla="*/ 33 w 794"/>
                <a:gd name="T3" fmla="*/ 794 h 794"/>
                <a:gd name="T4" fmla="*/ 27 w 794"/>
                <a:gd name="T5" fmla="*/ 794 h 794"/>
                <a:gd name="T6" fmla="*/ 21 w 794"/>
                <a:gd name="T7" fmla="*/ 792 h 794"/>
                <a:gd name="T8" fmla="*/ 15 w 794"/>
                <a:gd name="T9" fmla="*/ 789 h 794"/>
                <a:gd name="T10" fmla="*/ 10 w 794"/>
                <a:gd name="T11" fmla="*/ 785 h 794"/>
                <a:gd name="T12" fmla="*/ 10 w 794"/>
                <a:gd name="T13" fmla="*/ 785 h 794"/>
                <a:gd name="T14" fmla="*/ 4 w 794"/>
                <a:gd name="T15" fmla="*/ 778 h 794"/>
                <a:gd name="T16" fmla="*/ 1 w 794"/>
                <a:gd name="T17" fmla="*/ 769 h 794"/>
                <a:gd name="T18" fmla="*/ 0 w 794"/>
                <a:gd name="T19" fmla="*/ 761 h 794"/>
                <a:gd name="T20" fmla="*/ 1 w 794"/>
                <a:gd name="T21" fmla="*/ 753 h 794"/>
                <a:gd name="T22" fmla="*/ 68 w 794"/>
                <a:gd name="T23" fmla="*/ 521 h 794"/>
                <a:gd name="T24" fmla="*/ 68 w 794"/>
                <a:gd name="T25" fmla="*/ 521 h 794"/>
                <a:gd name="T26" fmla="*/ 71 w 794"/>
                <a:gd name="T27" fmla="*/ 513 h 794"/>
                <a:gd name="T28" fmla="*/ 76 w 794"/>
                <a:gd name="T29" fmla="*/ 506 h 794"/>
                <a:gd name="T30" fmla="*/ 573 w 794"/>
                <a:gd name="T31" fmla="*/ 10 h 794"/>
                <a:gd name="T32" fmla="*/ 573 w 794"/>
                <a:gd name="T33" fmla="*/ 10 h 794"/>
                <a:gd name="T34" fmla="*/ 578 w 794"/>
                <a:gd name="T35" fmla="*/ 6 h 794"/>
                <a:gd name="T36" fmla="*/ 583 w 794"/>
                <a:gd name="T37" fmla="*/ 3 h 794"/>
                <a:gd name="T38" fmla="*/ 589 w 794"/>
                <a:gd name="T39" fmla="*/ 1 h 794"/>
                <a:gd name="T40" fmla="*/ 595 w 794"/>
                <a:gd name="T41" fmla="*/ 0 h 794"/>
                <a:gd name="T42" fmla="*/ 602 w 794"/>
                <a:gd name="T43" fmla="*/ 1 h 794"/>
                <a:gd name="T44" fmla="*/ 608 w 794"/>
                <a:gd name="T45" fmla="*/ 3 h 794"/>
                <a:gd name="T46" fmla="*/ 614 w 794"/>
                <a:gd name="T47" fmla="*/ 6 h 794"/>
                <a:gd name="T48" fmla="*/ 619 w 794"/>
                <a:gd name="T49" fmla="*/ 10 h 794"/>
                <a:gd name="T50" fmla="*/ 785 w 794"/>
                <a:gd name="T51" fmla="*/ 175 h 794"/>
                <a:gd name="T52" fmla="*/ 785 w 794"/>
                <a:gd name="T53" fmla="*/ 175 h 794"/>
                <a:gd name="T54" fmla="*/ 789 w 794"/>
                <a:gd name="T55" fmla="*/ 180 h 794"/>
                <a:gd name="T56" fmla="*/ 792 w 794"/>
                <a:gd name="T57" fmla="*/ 186 h 794"/>
                <a:gd name="T58" fmla="*/ 793 w 794"/>
                <a:gd name="T59" fmla="*/ 193 h 794"/>
                <a:gd name="T60" fmla="*/ 794 w 794"/>
                <a:gd name="T61" fmla="*/ 199 h 794"/>
                <a:gd name="T62" fmla="*/ 794 w 794"/>
                <a:gd name="T63" fmla="*/ 199 h 794"/>
                <a:gd name="T64" fmla="*/ 793 w 794"/>
                <a:gd name="T65" fmla="*/ 205 h 794"/>
                <a:gd name="T66" fmla="*/ 792 w 794"/>
                <a:gd name="T67" fmla="*/ 211 h 794"/>
                <a:gd name="T68" fmla="*/ 789 w 794"/>
                <a:gd name="T69" fmla="*/ 218 h 794"/>
                <a:gd name="T70" fmla="*/ 785 w 794"/>
                <a:gd name="T71" fmla="*/ 223 h 794"/>
                <a:gd name="T72" fmla="*/ 288 w 794"/>
                <a:gd name="T73" fmla="*/ 719 h 794"/>
                <a:gd name="T74" fmla="*/ 288 w 794"/>
                <a:gd name="T75" fmla="*/ 719 h 794"/>
                <a:gd name="T76" fmla="*/ 282 w 794"/>
                <a:gd name="T77" fmla="*/ 724 h 794"/>
                <a:gd name="T78" fmla="*/ 273 w 794"/>
                <a:gd name="T79" fmla="*/ 727 h 794"/>
                <a:gd name="T80" fmla="*/ 43 w 794"/>
                <a:gd name="T81" fmla="*/ 793 h 794"/>
                <a:gd name="T82" fmla="*/ 43 w 794"/>
                <a:gd name="T83" fmla="*/ 793 h 794"/>
                <a:gd name="T84" fmla="*/ 38 w 794"/>
                <a:gd name="T85" fmla="*/ 794 h 794"/>
                <a:gd name="T86" fmla="*/ 33 w 794"/>
                <a:gd name="T87" fmla="*/ 794 h 794"/>
                <a:gd name="T88" fmla="*/ 33 w 794"/>
                <a:gd name="T89" fmla="*/ 794 h 794"/>
                <a:gd name="T90" fmla="*/ 129 w 794"/>
                <a:gd name="T91" fmla="*/ 547 h 794"/>
                <a:gd name="T92" fmla="*/ 81 w 794"/>
                <a:gd name="T93" fmla="*/ 713 h 794"/>
                <a:gd name="T94" fmla="*/ 248 w 794"/>
                <a:gd name="T95" fmla="*/ 666 h 794"/>
                <a:gd name="T96" fmla="*/ 714 w 794"/>
                <a:gd name="T97" fmla="*/ 199 h 794"/>
                <a:gd name="T98" fmla="*/ 595 w 794"/>
                <a:gd name="T99" fmla="*/ 80 h 794"/>
                <a:gd name="T100" fmla="*/ 129 w 794"/>
                <a:gd name="T101" fmla="*/ 547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94" h="794">
                  <a:moveTo>
                    <a:pt x="33" y="794"/>
                  </a:moveTo>
                  <a:lnTo>
                    <a:pt x="33" y="794"/>
                  </a:lnTo>
                  <a:lnTo>
                    <a:pt x="27" y="794"/>
                  </a:lnTo>
                  <a:lnTo>
                    <a:pt x="21" y="792"/>
                  </a:lnTo>
                  <a:lnTo>
                    <a:pt x="15" y="789"/>
                  </a:lnTo>
                  <a:lnTo>
                    <a:pt x="10" y="785"/>
                  </a:lnTo>
                  <a:lnTo>
                    <a:pt x="10" y="785"/>
                  </a:lnTo>
                  <a:lnTo>
                    <a:pt x="4" y="778"/>
                  </a:lnTo>
                  <a:lnTo>
                    <a:pt x="1" y="769"/>
                  </a:lnTo>
                  <a:lnTo>
                    <a:pt x="0" y="761"/>
                  </a:lnTo>
                  <a:lnTo>
                    <a:pt x="1" y="753"/>
                  </a:lnTo>
                  <a:lnTo>
                    <a:pt x="68" y="521"/>
                  </a:lnTo>
                  <a:lnTo>
                    <a:pt x="68" y="521"/>
                  </a:lnTo>
                  <a:lnTo>
                    <a:pt x="71" y="513"/>
                  </a:lnTo>
                  <a:lnTo>
                    <a:pt x="76" y="506"/>
                  </a:lnTo>
                  <a:lnTo>
                    <a:pt x="573" y="10"/>
                  </a:lnTo>
                  <a:lnTo>
                    <a:pt x="573" y="10"/>
                  </a:lnTo>
                  <a:lnTo>
                    <a:pt x="578" y="6"/>
                  </a:lnTo>
                  <a:lnTo>
                    <a:pt x="583" y="3"/>
                  </a:lnTo>
                  <a:lnTo>
                    <a:pt x="589" y="1"/>
                  </a:lnTo>
                  <a:lnTo>
                    <a:pt x="595" y="0"/>
                  </a:lnTo>
                  <a:lnTo>
                    <a:pt x="602" y="1"/>
                  </a:lnTo>
                  <a:lnTo>
                    <a:pt x="608" y="3"/>
                  </a:lnTo>
                  <a:lnTo>
                    <a:pt x="614" y="6"/>
                  </a:lnTo>
                  <a:lnTo>
                    <a:pt x="619" y="10"/>
                  </a:lnTo>
                  <a:lnTo>
                    <a:pt x="785" y="175"/>
                  </a:lnTo>
                  <a:lnTo>
                    <a:pt x="785" y="175"/>
                  </a:lnTo>
                  <a:lnTo>
                    <a:pt x="789" y="180"/>
                  </a:lnTo>
                  <a:lnTo>
                    <a:pt x="792" y="186"/>
                  </a:lnTo>
                  <a:lnTo>
                    <a:pt x="793" y="193"/>
                  </a:lnTo>
                  <a:lnTo>
                    <a:pt x="794" y="199"/>
                  </a:lnTo>
                  <a:lnTo>
                    <a:pt x="794" y="199"/>
                  </a:lnTo>
                  <a:lnTo>
                    <a:pt x="793" y="205"/>
                  </a:lnTo>
                  <a:lnTo>
                    <a:pt x="792" y="211"/>
                  </a:lnTo>
                  <a:lnTo>
                    <a:pt x="789" y="218"/>
                  </a:lnTo>
                  <a:lnTo>
                    <a:pt x="785" y="223"/>
                  </a:lnTo>
                  <a:lnTo>
                    <a:pt x="288" y="719"/>
                  </a:lnTo>
                  <a:lnTo>
                    <a:pt x="288" y="719"/>
                  </a:lnTo>
                  <a:lnTo>
                    <a:pt x="282" y="724"/>
                  </a:lnTo>
                  <a:lnTo>
                    <a:pt x="273" y="727"/>
                  </a:lnTo>
                  <a:lnTo>
                    <a:pt x="43" y="793"/>
                  </a:lnTo>
                  <a:lnTo>
                    <a:pt x="43" y="793"/>
                  </a:lnTo>
                  <a:lnTo>
                    <a:pt x="38" y="794"/>
                  </a:lnTo>
                  <a:lnTo>
                    <a:pt x="33" y="794"/>
                  </a:lnTo>
                  <a:lnTo>
                    <a:pt x="33" y="794"/>
                  </a:lnTo>
                  <a:close/>
                  <a:moveTo>
                    <a:pt x="129" y="547"/>
                  </a:moveTo>
                  <a:lnTo>
                    <a:pt x="81" y="713"/>
                  </a:lnTo>
                  <a:lnTo>
                    <a:pt x="248" y="666"/>
                  </a:lnTo>
                  <a:lnTo>
                    <a:pt x="714" y="199"/>
                  </a:lnTo>
                  <a:lnTo>
                    <a:pt x="595" y="80"/>
                  </a:lnTo>
                  <a:lnTo>
                    <a:pt x="129" y="5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92">
              <a:extLst>
                <a:ext uri="{FF2B5EF4-FFF2-40B4-BE49-F238E27FC236}">
                  <a16:creationId xmlns:a16="http://schemas.microsoft.com/office/drawing/2014/main" id="{43DFC8A8-9734-CD1B-6F2C-2E6A1C553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4513" y="2381250"/>
              <a:ext cx="49213" cy="47625"/>
            </a:xfrm>
            <a:custGeom>
              <a:avLst/>
              <a:gdLst>
                <a:gd name="T0" fmla="*/ 166 w 212"/>
                <a:gd name="T1" fmla="*/ 211 h 211"/>
                <a:gd name="T2" fmla="*/ 0 w 212"/>
                <a:gd name="T3" fmla="*/ 47 h 211"/>
                <a:gd name="T4" fmla="*/ 47 w 212"/>
                <a:gd name="T5" fmla="*/ 0 h 211"/>
                <a:gd name="T6" fmla="*/ 212 w 212"/>
                <a:gd name="T7" fmla="*/ 165 h 211"/>
                <a:gd name="T8" fmla="*/ 166 w 212"/>
                <a:gd name="T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211">
                  <a:moveTo>
                    <a:pt x="166" y="211"/>
                  </a:moveTo>
                  <a:lnTo>
                    <a:pt x="0" y="47"/>
                  </a:lnTo>
                  <a:lnTo>
                    <a:pt x="47" y="0"/>
                  </a:lnTo>
                  <a:lnTo>
                    <a:pt x="212" y="165"/>
                  </a:lnTo>
                  <a:lnTo>
                    <a:pt x="166" y="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93">
              <a:extLst>
                <a:ext uri="{FF2B5EF4-FFF2-40B4-BE49-F238E27FC236}">
                  <a16:creationId xmlns:a16="http://schemas.microsoft.com/office/drawing/2014/main" id="{F9FD9FD0-448E-5CD6-8193-D496B9D2B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0375" y="2460625"/>
              <a:ext cx="52388" cy="52388"/>
            </a:xfrm>
            <a:custGeom>
              <a:avLst/>
              <a:gdLst>
                <a:gd name="T0" fmla="*/ 199 w 232"/>
                <a:gd name="T1" fmla="*/ 231 h 231"/>
                <a:gd name="T2" fmla="*/ 199 w 232"/>
                <a:gd name="T3" fmla="*/ 231 h 231"/>
                <a:gd name="T4" fmla="*/ 193 w 232"/>
                <a:gd name="T5" fmla="*/ 231 h 231"/>
                <a:gd name="T6" fmla="*/ 187 w 232"/>
                <a:gd name="T7" fmla="*/ 229 h 231"/>
                <a:gd name="T8" fmla="*/ 181 w 232"/>
                <a:gd name="T9" fmla="*/ 226 h 231"/>
                <a:gd name="T10" fmla="*/ 175 w 232"/>
                <a:gd name="T11" fmla="*/ 222 h 231"/>
                <a:gd name="T12" fmla="*/ 10 w 232"/>
                <a:gd name="T13" fmla="*/ 56 h 231"/>
                <a:gd name="T14" fmla="*/ 10 w 232"/>
                <a:gd name="T15" fmla="*/ 56 h 231"/>
                <a:gd name="T16" fmla="*/ 6 w 232"/>
                <a:gd name="T17" fmla="*/ 51 h 231"/>
                <a:gd name="T18" fmla="*/ 3 w 232"/>
                <a:gd name="T19" fmla="*/ 46 h 231"/>
                <a:gd name="T20" fmla="*/ 2 w 232"/>
                <a:gd name="T21" fmla="*/ 39 h 231"/>
                <a:gd name="T22" fmla="*/ 0 w 232"/>
                <a:gd name="T23" fmla="*/ 33 h 231"/>
                <a:gd name="T24" fmla="*/ 2 w 232"/>
                <a:gd name="T25" fmla="*/ 27 h 231"/>
                <a:gd name="T26" fmla="*/ 3 w 232"/>
                <a:gd name="T27" fmla="*/ 21 h 231"/>
                <a:gd name="T28" fmla="*/ 6 w 232"/>
                <a:gd name="T29" fmla="*/ 15 h 231"/>
                <a:gd name="T30" fmla="*/ 10 w 232"/>
                <a:gd name="T31" fmla="*/ 9 h 231"/>
                <a:gd name="T32" fmla="*/ 10 w 232"/>
                <a:gd name="T33" fmla="*/ 9 h 231"/>
                <a:gd name="T34" fmla="*/ 15 w 232"/>
                <a:gd name="T35" fmla="*/ 5 h 231"/>
                <a:gd name="T36" fmla="*/ 21 w 232"/>
                <a:gd name="T37" fmla="*/ 2 h 231"/>
                <a:gd name="T38" fmla="*/ 27 w 232"/>
                <a:gd name="T39" fmla="*/ 0 h 231"/>
                <a:gd name="T40" fmla="*/ 34 w 232"/>
                <a:gd name="T41" fmla="*/ 0 h 231"/>
                <a:gd name="T42" fmla="*/ 40 w 232"/>
                <a:gd name="T43" fmla="*/ 0 h 231"/>
                <a:gd name="T44" fmla="*/ 46 w 232"/>
                <a:gd name="T45" fmla="*/ 2 h 231"/>
                <a:gd name="T46" fmla="*/ 51 w 232"/>
                <a:gd name="T47" fmla="*/ 5 h 231"/>
                <a:gd name="T48" fmla="*/ 56 w 232"/>
                <a:gd name="T49" fmla="*/ 9 h 231"/>
                <a:gd name="T50" fmla="*/ 222 w 232"/>
                <a:gd name="T51" fmla="*/ 175 h 231"/>
                <a:gd name="T52" fmla="*/ 222 w 232"/>
                <a:gd name="T53" fmla="*/ 175 h 231"/>
                <a:gd name="T54" fmla="*/ 226 w 232"/>
                <a:gd name="T55" fmla="*/ 180 h 231"/>
                <a:gd name="T56" fmla="*/ 229 w 232"/>
                <a:gd name="T57" fmla="*/ 185 h 231"/>
                <a:gd name="T58" fmla="*/ 231 w 232"/>
                <a:gd name="T59" fmla="*/ 192 h 231"/>
                <a:gd name="T60" fmla="*/ 232 w 232"/>
                <a:gd name="T61" fmla="*/ 198 h 231"/>
                <a:gd name="T62" fmla="*/ 231 w 232"/>
                <a:gd name="T63" fmla="*/ 205 h 231"/>
                <a:gd name="T64" fmla="*/ 229 w 232"/>
                <a:gd name="T65" fmla="*/ 210 h 231"/>
                <a:gd name="T66" fmla="*/ 226 w 232"/>
                <a:gd name="T67" fmla="*/ 216 h 231"/>
                <a:gd name="T68" fmla="*/ 222 w 232"/>
                <a:gd name="T69" fmla="*/ 222 h 231"/>
                <a:gd name="T70" fmla="*/ 222 w 232"/>
                <a:gd name="T71" fmla="*/ 222 h 231"/>
                <a:gd name="T72" fmla="*/ 217 w 232"/>
                <a:gd name="T73" fmla="*/ 226 h 231"/>
                <a:gd name="T74" fmla="*/ 212 w 232"/>
                <a:gd name="T75" fmla="*/ 229 h 231"/>
                <a:gd name="T76" fmla="*/ 205 w 232"/>
                <a:gd name="T77" fmla="*/ 231 h 231"/>
                <a:gd name="T78" fmla="*/ 199 w 232"/>
                <a:gd name="T79" fmla="*/ 231 h 231"/>
                <a:gd name="T80" fmla="*/ 199 w 232"/>
                <a:gd name="T81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2" h="231">
                  <a:moveTo>
                    <a:pt x="199" y="231"/>
                  </a:moveTo>
                  <a:lnTo>
                    <a:pt x="199" y="231"/>
                  </a:lnTo>
                  <a:lnTo>
                    <a:pt x="193" y="231"/>
                  </a:lnTo>
                  <a:lnTo>
                    <a:pt x="187" y="229"/>
                  </a:lnTo>
                  <a:lnTo>
                    <a:pt x="181" y="226"/>
                  </a:lnTo>
                  <a:lnTo>
                    <a:pt x="175" y="222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6" y="51"/>
                  </a:lnTo>
                  <a:lnTo>
                    <a:pt x="3" y="46"/>
                  </a:lnTo>
                  <a:lnTo>
                    <a:pt x="2" y="39"/>
                  </a:lnTo>
                  <a:lnTo>
                    <a:pt x="0" y="33"/>
                  </a:lnTo>
                  <a:lnTo>
                    <a:pt x="2" y="27"/>
                  </a:lnTo>
                  <a:lnTo>
                    <a:pt x="3" y="21"/>
                  </a:lnTo>
                  <a:lnTo>
                    <a:pt x="6" y="15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1" y="5"/>
                  </a:lnTo>
                  <a:lnTo>
                    <a:pt x="56" y="9"/>
                  </a:lnTo>
                  <a:lnTo>
                    <a:pt x="222" y="175"/>
                  </a:lnTo>
                  <a:lnTo>
                    <a:pt x="222" y="175"/>
                  </a:lnTo>
                  <a:lnTo>
                    <a:pt x="226" y="180"/>
                  </a:lnTo>
                  <a:lnTo>
                    <a:pt x="229" y="185"/>
                  </a:lnTo>
                  <a:lnTo>
                    <a:pt x="231" y="192"/>
                  </a:lnTo>
                  <a:lnTo>
                    <a:pt x="232" y="198"/>
                  </a:lnTo>
                  <a:lnTo>
                    <a:pt x="231" y="205"/>
                  </a:lnTo>
                  <a:lnTo>
                    <a:pt x="229" y="210"/>
                  </a:lnTo>
                  <a:lnTo>
                    <a:pt x="226" y="216"/>
                  </a:lnTo>
                  <a:lnTo>
                    <a:pt x="222" y="222"/>
                  </a:lnTo>
                  <a:lnTo>
                    <a:pt x="222" y="222"/>
                  </a:lnTo>
                  <a:lnTo>
                    <a:pt x="217" y="226"/>
                  </a:lnTo>
                  <a:lnTo>
                    <a:pt x="212" y="229"/>
                  </a:lnTo>
                  <a:lnTo>
                    <a:pt x="205" y="231"/>
                  </a:lnTo>
                  <a:lnTo>
                    <a:pt x="199" y="231"/>
                  </a:lnTo>
                  <a:lnTo>
                    <a:pt x="199" y="2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94">
              <a:extLst>
                <a:ext uri="{FF2B5EF4-FFF2-40B4-BE49-F238E27FC236}">
                  <a16:creationId xmlns:a16="http://schemas.microsoft.com/office/drawing/2014/main" id="{E3464737-908B-7AB0-E031-1FBBEF8A7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5113" y="2212975"/>
              <a:ext cx="157163" cy="285750"/>
            </a:xfrm>
            <a:custGeom>
              <a:avLst/>
              <a:gdLst>
                <a:gd name="T0" fmla="*/ 165 w 694"/>
                <a:gd name="T1" fmla="*/ 1257 h 1257"/>
                <a:gd name="T2" fmla="*/ 149 w 694"/>
                <a:gd name="T3" fmla="*/ 1257 h 1257"/>
                <a:gd name="T4" fmla="*/ 116 w 694"/>
                <a:gd name="T5" fmla="*/ 1249 h 1257"/>
                <a:gd name="T6" fmla="*/ 86 w 694"/>
                <a:gd name="T7" fmla="*/ 1237 h 1257"/>
                <a:gd name="T8" fmla="*/ 60 w 694"/>
                <a:gd name="T9" fmla="*/ 1219 h 1257"/>
                <a:gd name="T10" fmla="*/ 38 w 694"/>
                <a:gd name="T11" fmla="*/ 1197 h 1257"/>
                <a:gd name="T12" fmla="*/ 20 w 694"/>
                <a:gd name="T13" fmla="*/ 1171 h 1257"/>
                <a:gd name="T14" fmla="*/ 8 w 694"/>
                <a:gd name="T15" fmla="*/ 1141 h 1257"/>
                <a:gd name="T16" fmla="*/ 1 w 694"/>
                <a:gd name="T17" fmla="*/ 1109 h 1257"/>
                <a:gd name="T18" fmla="*/ 0 w 694"/>
                <a:gd name="T19" fmla="*/ 33 h 1257"/>
                <a:gd name="T20" fmla="*/ 1 w 694"/>
                <a:gd name="T21" fmla="*/ 27 h 1257"/>
                <a:gd name="T22" fmla="*/ 6 w 694"/>
                <a:gd name="T23" fmla="*/ 14 h 1257"/>
                <a:gd name="T24" fmla="*/ 14 w 694"/>
                <a:gd name="T25" fmla="*/ 6 h 1257"/>
                <a:gd name="T26" fmla="*/ 26 w 694"/>
                <a:gd name="T27" fmla="*/ 1 h 1257"/>
                <a:gd name="T28" fmla="*/ 298 w 694"/>
                <a:gd name="T29" fmla="*/ 0 h 1257"/>
                <a:gd name="T30" fmla="*/ 304 w 694"/>
                <a:gd name="T31" fmla="*/ 1 h 1257"/>
                <a:gd name="T32" fmla="*/ 316 w 694"/>
                <a:gd name="T33" fmla="*/ 6 h 1257"/>
                <a:gd name="T34" fmla="*/ 324 w 694"/>
                <a:gd name="T35" fmla="*/ 14 h 1257"/>
                <a:gd name="T36" fmla="*/ 330 w 694"/>
                <a:gd name="T37" fmla="*/ 27 h 1257"/>
                <a:gd name="T38" fmla="*/ 331 w 694"/>
                <a:gd name="T39" fmla="*/ 33 h 1257"/>
                <a:gd name="T40" fmla="*/ 328 w 694"/>
                <a:gd name="T41" fmla="*/ 46 h 1257"/>
                <a:gd name="T42" fmla="*/ 320 w 694"/>
                <a:gd name="T43" fmla="*/ 57 h 1257"/>
                <a:gd name="T44" fmla="*/ 310 w 694"/>
                <a:gd name="T45" fmla="*/ 64 h 1257"/>
                <a:gd name="T46" fmla="*/ 298 w 694"/>
                <a:gd name="T47" fmla="*/ 66 h 1257"/>
                <a:gd name="T48" fmla="*/ 66 w 694"/>
                <a:gd name="T49" fmla="*/ 1092 h 1257"/>
                <a:gd name="T50" fmla="*/ 67 w 694"/>
                <a:gd name="T51" fmla="*/ 1101 h 1257"/>
                <a:gd name="T52" fmla="*/ 71 w 694"/>
                <a:gd name="T53" fmla="*/ 1121 h 1257"/>
                <a:gd name="T54" fmla="*/ 78 w 694"/>
                <a:gd name="T55" fmla="*/ 1139 h 1257"/>
                <a:gd name="T56" fmla="*/ 89 w 694"/>
                <a:gd name="T57" fmla="*/ 1155 h 1257"/>
                <a:gd name="T58" fmla="*/ 102 w 694"/>
                <a:gd name="T59" fmla="*/ 1169 h 1257"/>
                <a:gd name="T60" fmla="*/ 117 w 694"/>
                <a:gd name="T61" fmla="*/ 1179 h 1257"/>
                <a:gd name="T62" fmla="*/ 136 w 694"/>
                <a:gd name="T63" fmla="*/ 1186 h 1257"/>
                <a:gd name="T64" fmla="*/ 155 w 694"/>
                <a:gd name="T65" fmla="*/ 1190 h 1257"/>
                <a:gd name="T66" fmla="*/ 661 w 694"/>
                <a:gd name="T67" fmla="*/ 1192 h 1257"/>
                <a:gd name="T68" fmla="*/ 668 w 694"/>
                <a:gd name="T69" fmla="*/ 1192 h 1257"/>
                <a:gd name="T70" fmla="*/ 679 w 694"/>
                <a:gd name="T71" fmla="*/ 1197 h 1257"/>
                <a:gd name="T72" fmla="*/ 689 w 694"/>
                <a:gd name="T73" fmla="*/ 1206 h 1257"/>
                <a:gd name="T74" fmla="*/ 694 w 694"/>
                <a:gd name="T75" fmla="*/ 1217 h 1257"/>
                <a:gd name="T76" fmla="*/ 694 w 694"/>
                <a:gd name="T77" fmla="*/ 1225 h 1257"/>
                <a:gd name="T78" fmla="*/ 692 w 694"/>
                <a:gd name="T79" fmla="*/ 1237 h 1257"/>
                <a:gd name="T80" fmla="*/ 685 w 694"/>
                <a:gd name="T81" fmla="*/ 1247 h 1257"/>
                <a:gd name="T82" fmla="*/ 674 w 694"/>
                <a:gd name="T83" fmla="*/ 1255 h 1257"/>
                <a:gd name="T84" fmla="*/ 661 w 694"/>
                <a:gd name="T85" fmla="*/ 1257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94" h="1257">
                  <a:moveTo>
                    <a:pt x="661" y="1257"/>
                  </a:moveTo>
                  <a:lnTo>
                    <a:pt x="165" y="1257"/>
                  </a:lnTo>
                  <a:lnTo>
                    <a:pt x="165" y="1257"/>
                  </a:lnTo>
                  <a:lnTo>
                    <a:pt x="149" y="1257"/>
                  </a:lnTo>
                  <a:lnTo>
                    <a:pt x="132" y="1254"/>
                  </a:lnTo>
                  <a:lnTo>
                    <a:pt x="116" y="1249"/>
                  </a:lnTo>
                  <a:lnTo>
                    <a:pt x="101" y="1244"/>
                  </a:lnTo>
                  <a:lnTo>
                    <a:pt x="86" y="1237"/>
                  </a:lnTo>
                  <a:lnTo>
                    <a:pt x="73" y="1229"/>
                  </a:lnTo>
                  <a:lnTo>
                    <a:pt x="60" y="1219"/>
                  </a:lnTo>
                  <a:lnTo>
                    <a:pt x="48" y="1209"/>
                  </a:lnTo>
                  <a:lnTo>
                    <a:pt x="38" y="1197"/>
                  </a:lnTo>
                  <a:lnTo>
                    <a:pt x="28" y="1184"/>
                  </a:lnTo>
                  <a:lnTo>
                    <a:pt x="20" y="1171"/>
                  </a:lnTo>
                  <a:lnTo>
                    <a:pt x="13" y="1156"/>
                  </a:lnTo>
                  <a:lnTo>
                    <a:pt x="8" y="1141"/>
                  </a:lnTo>
                  <a:lnTo>
                    <a:pt x="4" y="1125"/>
                  </a:lnTo>
                  <a:lnTo>
                    <a:pt x="1" y="1109"/>
                  </a:lnTo>
                  <a:lnTo>
                    <a:pt x="0" y="109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20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298" y="0"/>
                  </a:lnTo>
                  <a:lnTo>
                    <a:pt x="298" y="0"/>
                  </a:lnTo>
                  <a:lnTo>
                    <a:pt x="304" y="1"/>
                  </a:lnTo>
                  <a:lnTo>
                    <a:pt x="310" y="3"/>
                  </a:lnTo>
                  <a:lnTo>
                    <a:pt x="316" y="6"/>
                  </a:lnTo>
                  <a:lnTo>
                    <a:pt x="320" y="10"/>
                  </a:lnTo>
                  <a:lnTo>
                    <a:pt x="324" y="14"/>
                  </a:lnTo>
                  <a:lnTo>
                    <a:pt x="328" y="20"/>
                  </a:lnTo>
                  <a:lnTo>
                    <a:pt x="330" y="27"/>
                  </a:lnTo>
                  <a:lnTo>
                    <a:pt x="331" y="33"/>
                  </a:lnTo>
                  <a:lnTo>
                    <a:pt x="331" y="33"/>
                  </a:lnTo>
                  <a:lnTo>
                    <a:pt x="330" y="40"/>
                  </a:lnTo>
                  <a:lnTo>
                    <a:pt x="328" y="46"/>
                  </a:lnTo>
                  <a:lnTo>
                    <a:pt x="324" y="52"/>
                  </a:lnTo>
                  <a:lnTo>
                    <a:pt x="320" y="57"/>
                  </a:lnTo>
                  <a:lnTo>
                    <a:pt x="316" y="61"/>
                  </a:lnTo>
                  <a:lnTo>
                    <a:pt x="310" y="64"/>
                  </a:lnTo>
                  <a:lnTo>
                    <a:pt x="304" y="66"/>
                  </a:lnTo>
                  <a:lnTo>
                    <a:pt x="298" y="66"/>
                  </a:lnTo>
                  <a:lnTo>
                    <a:pt x="66" y="66"/>
                  </a:lnTo>
                  <a:lnTo>
                    <a:pt x="66" y="1092"/>
                  </a:lnTo>
                  <a:lnTo>
                    <a:pt x="66" y="1092"/>
                  </a:lnTo>
                  <a:lnTo>
                    <a:pt x="67" y="1101"/>
                  </a:lnTo>
                  <a:lnTo>
                    <a:pt x="68" y="1112"/>
                  </a:lnTo>
                  <a:lnTo>
                    <a:pt x="71" y="1121"/>
                  </a:lnTo>
                  <a:lnTo>
                    <a:pt x="74" y="1130"/>
                  </a:lnTo>
                  <a:lnTo>
                    <a:pt x="78" y="1139"/>
                  </a:lnTo>
                  <a:lnTo>
                    <a:pt x="83" y="1147"/>
                  </a:lnTo>
                  <a:lnTo>
                    <a:pt x="89" y="1155"/>
                  </a:lnTo>
                  <a:lnTo>
                    <a:pt x="95" y="1161"/>
                  </a:lnTo>
                  <a:lnTo>
                    <a:pt x="102" y="1169"/>
                  </a:lnTo>
                  <a:lnTo>
                    <a:pt x="110" y="1174"/>
                  </a:lnTo>
                  <a:lnTo>
                    <a:pt x="117" y="1179"/>
                  </a:lnTo>
                  <a:lnTo>
                    <a:pt x="127" y="1183"/>
                  </a:lnTo>
                  <a:lnTo>
                    <a:pt x="136" y="1186"/>
                  </a:lnTo>
                  <a:lnTo>
                    <a:pt x="145" y="1189"/>
                  </a:lnTo>
                  <a:lnTo>
                    <a:pt x="155" y="1190"/>
                  </a:lnTo>
                  <a:lnTo>
                    <a:pt x="165" y="1192"/>
                  </a:lnTo>
                  <a:lnTo>
                    <a:pt x="661" y="1192"/>
                  </a:lnTo>
                  <a:lnTo>
                    <a:pt x="661" y="1192"/>
                  </a:lnTo>
                  <a:lnTo>
                    <a:pt x="668" y="1192"/>
                  </a:lnTo>
                  <a:lnTo>
                    <a:pt x="674" y="1194"/>
                  </a:lnTo>
                  <a:lnTo>
                    <a:pt x="679" y="1197"/>
                  </a:lnTo>
                  <a:lnTo>
                    <a:pt x="685" y="1201"/>
                  </a:lnTo>
                  <a:lnTo>
                    <a:pt x="689" y="1206"/>
                  </a:lnTo>
                  <a:lnTo>
                    <a:pt x="692" y="1211"/>
                  </a:lnTo>
                  <a:lnTo>
                    <a:pt x="694" y="1217"/>
                  </a:lnTo>
                  <a:lnTo>
                    <a:pt x="694" y="1225"/>
                  </a:lnTo>
                  <a:lnTo>
                    <a:pt x="694" y="1225"/>
                  </a:lnTo>
                  <a:lnTo>
                    <a:pt x="694" y="1231"/>
                  </a:lnTo>
                  <a:lnTo>
                    <a:pt x="692" y="1237"/>
                  </a:lnTo>
                  <a:lnTo>
                    <a:pt x="689" y="1242"/>
                  </a:lnTo>
                  <a:lnTo>
                    <a:pt x="685" y="1247"/>
                  </a:lnTo>
                  <a:lnTo>
                    <a:pt x="679" y="1252"/>
                  </a:lnTo>
                  <a:lnTo>
                    <a:pt x="674" y="1255"/>
                  </a:lnTo>
                  <a:lnTo>
                    <a:pt x="668" y="1257"/>
                  </a:lnTo>
                  <a:lnTo>
                    <a:pt x="661" y="1257"/>
                  </a:lnTo>
                  <a:lnTo>
                    <a:pt x="661" y="12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95">
              <a:extLst>
                <a:ext uri="{FF2B5EF4-FFF2-40B4-BE49-F238E27FC236}">
                  <a16:creationId xmlns:a16="http://schemas.microsoft.com/office/drawing/2014/main" id="{70394570-50CC-DC02-721F-F0C9F50C2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5275" y="2243138"/>
              <a:ext cx="120650" cy="225425"/>
            </a:xfrm>
            <a:custGeom>
              <a:avLst/>
              <a:gdLst>
                <a:gd name="T0" fmla="*/ 496 w 529"/>
                <a:gd name="T1" fmla="*/ 993 h 993"/>
                <a:gd name="T2" fmla="*/ 33 w 529"/>
                <a:gd name="T3" fmla="*/ 993 h 993"/>
                <a:gd name="T4" fmla="*/ 33 w 529"/>
                <a:gd name="T5" fmla="*/ 993 h 993"/>
                <a:gd name="T6" fmla="*/ 27 w 529"/>
                <a:gd name="T7" fmla="*/ 992 h 993"/>
                <a:gd name="T8" fmla="*/ 21 w 529"/>
                <a:gd name="T9" fmla="*/ 990 h 993"/>
                <a:gd name="T10" fmla="*/ 14 w 529"/>
                <a:gd name="T11" fmla="*/ 987 h 993"/>
                <a:gd name="T12" fmla="*/ 9 w 529"/>
                <a:gd name="T13" fmla="*/ 983 h 993"/>
                <a:gd name="T14" fmla="*/ 6 w 529"/>
                <a:gd name="T15" fmla="*/ 979 h 993"/>
                <a:gd name="T16" fmla="*/ 3 w 529"/>
                <a:gd name="T17" fmla="*/ 973 h 993"/>
                <a:gd name="T18" fmla="*/ 1 w 529"/>
                <a:gd name="T19" fmla="*/ 966 h 993"/>
                <a:gd name="T20" fmla="*/ 0 w 529"/>
                <a:gd name="T21" fmla="*/ 960 h 993"/>
                <a:gd name="T22" fmla="*/ 0 w 529"/>
                <a:gd name="T23" fmla="*/ 33 h 993"/>
                <a:gd name="T24" fmla="*/ 0 w 529"/>
                <a:gd name="T25" fmla="*/ 33 h 993"/>
                <a:gd name="T26" fmla="*/ 1 w 529"/>
                <a:gd name="T27" fmla="*/ 27 h 993"/>
                <a:gd name="T28" fmla="*/ 3 w 529"/>
                <a:gd name="T29" fmla="*/ 21 h 993"/>
                <a:gd name="T30" fmla="*/ 6 w 529"/>
                <a:gd name="T31" fmla="*/ 15 h 993"/>
                <a:gd name="T32" fmla="*/ 9 w 529"/>
                <a:gd name="T33" fmla="*/ 10 h 993"/>
                <a:gd name="T34" fmla="*/ 14 w 529"/>
                <a:gd name="T35" fmla="*/ 7 h 993"/>
                <a:gd name="T36" fmla="*/ 21 w 529"/>
                <a:gd name="T37" fmla="*/ 3 h 993"/>
                <a:gd name="T38" fmla="*/ 27 w 529"/>
                <a:gd name="T39" fmla="*/ 1 h 993"/>
                <a:gd name="T40" fmla="*/ 33 w 529"/>
                <a:gd name="T41" fmla="*/ 0 h 993"/>
                <a:gd name="T42" fmla="*/ 166 w 529"/>
                <a:gd name="T43" fmla="*/ 0 h 993"/>
                <a:gd name="T44" fmla="*/ 166 w 529"/>
                <a:gd name="T45" fmla="*/ 0 h 993"/>
                <a:gd name="T46" fmla="*/ 172 w 529"/>
                <a:gd name="T47" fmla="*/ 1 h 993"/>
                <a:gd name="T48" fmla="*/ 178 w 529"/>
                <a:gd name="T49" fmla="*/ 3 h 993"/>
                <a:gd name="T50" fmla="*/ 184 w 529"/>
                <a:gd name="T51" fmla="*/ 7 h 993"/>
                <a:gd name="T52" fmla="*/ 188 w 529"/>
                <a:gd name="T53" fmla="*/ 10 h 993"/>
                <a:gd name="T54" fmla="*/ 192 w 529"/>
                <a:gd name="T55" fmla="*/ 15 h 993"/>
                <a:gd name="T56" fmla="*/ 196 w 529"/>
                <a:gd name="T57" fmla="*/ 21 h 993"/>
                <a:gd name="T58" fmla="*/ 198 w 529"/>
                <a:gd name="T59" fmla="*/ 27 h 993"/>
                <a:gd name="T60" fmla="*/ 199 w 529"/>
                <a:gd name="T61" fmla="*/ 33 h 993"/>
                <a:gd name="T62" fmla="*/ 199 w 529"/>
                <a:gd name="T63" fmla="*/ 33 h 993"/>
                <a:gd name="T64" fmla="*/ 198 w 529"/>
                <a:gd name="T65" fmla="*/ 40 h 993"/>
                <a:gd name="T66" fmla="*/ 196 w 529"/>
                <a:gd name="T67" fmla="*/ 46 h 993"/>
                <a:gd name="T68" fmla="*/ 192 w 529"/>
                <a:gd name="T69" fmla="*/ 52 h 993"/>
                <a:gd name="T70" fmla="*/ 188 w 529"/>
                <a:gd name="T71" fmla="*/ 57 h 993"/>
                <a:gd name="T72" fmla="*/ 184 w 529"/>
                <a:gd name="T73" fmla="*/ 61 h 993"/>
                <a:gd name="T74" fmla="*/ 178 w 529"/>
                <a:gd name="T75" fmla="*/ 63 h 993"/>
                <a:gd name="T76" fmla="*/ 172 w 529"/>
                <a:gd name="T77" fmla="*/ 66 h 993"/>
                <a:gd name="T78" fmla="*/ 166 w 529"/>
                <a:gd name="T79" fmla="*/ 67 h 993"/>
                <a:gd name="T80" fmla="*/ 66 w 529"/>
                <a:gd name="T81" fmla="*/ 67 h 993"/>
                <a:gd name="T82" fmla="*/ 66 w 529"/>
                <a:gd name="T83" fmla="*/ 927 h 993"/>
                <a:gd name="T84" fmla="*/ 496 w 529"/>
                <a:gd name="T85" fmla="*/ 927 h 993"/>
                <a:gd name="T86" fmla="*/ 496 w 529"/>
                <a:gd name="T87" fmla="*/ 927 h 993"/>
                <a:gd name="T88" fmla="*/ 503 w 529"/>
                <a:gd name="T89" fmla="*/ 927 h 993"/>
                <a:gd name="T90" fmla="*/ 509 w 529"/>
                <a:gd name="T91" fmla="*/ 929 h 993"/>
                <a:gd name="T92" fmla="*/ 514 w 529"/>
                <a:gd name="T93" fmla="*/ 932 h 993"/>
                <a:gd name="T94" fmla="*/ 519 w 529"/>
                <a:gd name="T95" fmla="*/ 936 h 993"/>
                <a:gd name="T96" fmla="*/ 524 w 529"/>
                <a:gd name="T97" fmla="*/ 941 h 993"/>
                <a:gd name="T98" fmla="*/ 527 w 529"/>
                <a:gd name="T99" fmla="*/ 947 h 993"/>
                <a:gd name="T100" fmla="*/ 529 w 529"/>
                <a:gd name="T101" fmla="*/ 953 h 993"/>
                <a:gd name="T102" fmla="*/ 529 w 529"/>
                <a:gd name="T103" fmla="*/ 960 h 993"/>
                <a:gd name="T104" fmla="*/ 529 w 529"/>
                <a:gd name="T105" fmla="*/ 960 h 993"/>
                <a:gd name="T106" fmla="*/ 529 w 529"/>
                <a:gd name="T107" fmla="*/ 966 h 993"/>
                <a:gd name="T108" fmla="*/ 527 w 529"/>
                <a:gd name="T109" fmla="*/ 973 h 993"/>
                <a:gd name="T110" fmla="*/ 524 w 529"/>
                <a:gd name="T111" fmla="*/ 979 h 993"/>
                <a:gd name="T112" fmla="*/ 519 w 529"/>
                <a:gd name="T113" fmla="*/ 983 h 993"/>
                <a:gd name="T114" fmla="*/ 514 w 529"/>
                <a:gd name="T115" fmla="*/ 987 h 993"/>
                <a:gd name="T116" fmla="*/ 509 w 529"/>
                <a:gd name="T117" fmla="*/ 990 h 993"/>
                <a:gd name="T118" fmla="*/ 503 w 529"/>
                <a:gd name="T119" fmla="*/ 992 h 993"/>
                <a:gd name="T120" fmla="*/ 496 w 529"/>
                <a:gd name="T121" fmla="*/ 993 h 993"/>
                <a:gd name="T122" fmla="*/ 496 w 529"/>
                <a:gd name="T123" fmla="*/ 99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9" h="993">
                  <a:moveTo>
                    <a:pt x="496" y="993"/>
                  </a:moveTo>
                  <a:lnTo>
                    <a:pt x="33" y="993"/>
                  </a:lnTo>
                  <a:lnTo>
                    <a:pt x="33" y="993"/>
                  </a:lnTo>
                  <a:lnTo>
                    <a:pt x="27" y="992"/>
                  </a:lnTo>
                  <a:lnTo>
                    <a:pt x="21" y="990"/>
                  </a:lnTo>
                  <a:lnTo>
                    <a:pt x="14" y="987"/>
                  </a:lnTo>
                  <a:lnTo>
                    <a:pt x="9" y="983"/>
                  </a:lnTo>
                  <a:lnTo>
                    <a:pt x="6" y="979"/>
                  </a:lnTo>
                  <a:lnTo>
                    <a:pt x="3" y="973"/>
                  </a:lnTo>
                  <a:lnTo>
                    <a:pt x="1" y="966"/>
                  </a:lnTo>
                  <a:lnTo>
                    <a:pt x="0" y="96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1"/>
                  </a:lnTo>
                  <a:lnTo>
                    <a:pt x="6" y="15"/>
                  </a:lnTo>
                  <a:lnTo>
                    <a:pt x="9" y="10"/>
                  </a:lnTo>
                  <a:lnTo>
                    <a:pt x="14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72" y="1"/>
                  </a:lnTo>
                  <a:lnTo>
                    <a:pt x="178" y="3"/>
                  </a:lnTo>
                  <a:lnTo>
                    <a:pt x="184" y="7"/>
                  </a:lnTo>
                  <a:lnTo>
                    <a:pt x="188" y="10"/>
                  </a:lnTo>
                  <a:lnTo>
                    <a:pt x="192" y="15"/>
                  </a:lnTo>
                  <a:lnTo>
                    <a:pt x="196" y="21"/>
                  </a:lnTo>
                  <a:lnTo>
                    <a:pt x="198" y="27"/>
                  </a:lnTo>
                  <a:lnTo>
                    <a:pt x="199" y="33"/>
                  </a:lnTo>
                  <a:lnTo>
                    <a:pt x="199" y="33"/>
                  </a:lnTo>
                  <a:lnTo>
                    <a:pt x="198" y="40"/>
                  </a:lnTo>
                  <a:lnTo>
                    <a:pt x="196" y="46"/>
                  </a:lnTo>
                  <a:lnTo>
                    <a:pt x="192" y="52"/>
                  </a:lnTo>
                  <a:lnTo>
                    <a:pt x="188" y="57"/>
                  </a:lnTo>
                  <a:lnTo>
                    <a:pt x="184" y="61"/>
                  </a:lnTo>
                  <a:lnTo>
                    <a:pt x="178" y="63"/>
                  </a:lnTo>
                  <a:lnTo>
                    <a:pt x="172" y="66"/>
                  </a:lnTo>
                  <a:lnTo>
                    <a:pt x="166" y="67"/>
                  </a:lnTo>
                  <a:lnTo>
                    <a:pt x="66" y="67"/>
                  </a:lnTo>
                  <a:lnTo>
                    <a:pt x="66" y="927"/>
                  </a:lnTo>
                  <a:lnTo>
                    <a:pt x="496" y="927"/>
                  </a:lnTo>
                  <a:lnTo>
                    <a:pt x="496" y="927"/>
                  </a:lnTo>
                  <a:lnTo>
                    <a:pt x="503" y="927"/>
                  </a:lnTo>
                  <a:lnTo>
                    <a:pt x="509" y="929"/>
                  </a:lnTo>
                  <a:lnTo>
                    <a:pt x="514" y="932"/>
                  </a:lnTo>
                  <a:lnTo>
                    <a:pt x="519" y="936"/>
                  </a:lnTo>
                  <a:lnTo>
                    <a:pt x="524" y="941"/>
                  </a:lnTo>
                  <a:lnTo>
                    <a:pt x="527" y="947"/>
                  </a:lnTo>
                  <a:lnTo>
                    <a:pt x="529" y="953"/>
                  </a:lnTo>
                  <a:lnTo>
                    <a:pt x="529" y="960"/>
                  </a:lnTo>
                  <a:lnTo>
                    <a:pt x="529" y="960"/>
                  </a:lnTo>
                  <a:lnTo>
                    <a:pt x="529" y="966"/>
                  </a:lnTo>
                  <a:lnTo>
                    <a:pt x="527" y="973"/>
                  </a:lnTo>
                  <a:lnTo>
                    <a:pt x="524" y="979"/>
                  </a:lnTo>
                  <a:lnTo>
                    <a:pt x="519" y="983"/>
                  </a:lnTo>
                  <a:lnTo>
                    <a:pt x="514" y="987"/>
                  </a:lnTo>
                  <a:lnTo>
                    <a:pt x="509" y="990"/>
                  </a:lnTo>
                  <a:lnTo>
                    <a:pt x="503" y="992"/>
                  </a:lnTo>
                  <a:lnTo>
                    <a:pt x="496" y="993"/>
                  </a:lnTo>
                  <a:lnTo>
                    <a:pt x="496" y="9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96">
              <a:extLst>
                <a:ext uri="{FF2B5EF4-FFF2-40B4-BE49-F238E27FC236}">
                  <a16:creationId xmlns:a16="http://schemas.microsoft.com/office/drawing/2014/main" id="{6D2ED76D-0D2F-45EB-CE8A-C5A582D07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088" y="2212975"/>
              <a:ext cx="74613" cy="112713"/>
            </a:xfrm>
            <a:custGeom>
              <a:avLst/>
              <a:gdLst>
                <a:gd name="T0" fmla="*/ 298 w 331"/>
                <a:gd name="T1" fmla="*/ 497 h 497"/>
                <a:gd name="T2" fmla="*/ 298 w 331"/>
                <a:gd name="T3" fmla="*/ 497 h 497"/>
                <a:gd name="T4" fmla="*/ 291 w 331"/>
                <a:gd name="T5" fmla="*/ 496 h 497"/>
                <a:gd name="T6" fmla="*/ 285 w 331"/>
                <a:gd name="T7" fmla="*/ 494 h 497"/>
                <a:gd name="T8" fmla="*/ 280 w 331"/>
                <a:gd name="T9" fmla="*/ 491 h 497"/>
                <a:gd name="T10" fmla="*/ 274 w 331"/>
                <a:gd name="T11" fmla="*/ 486 h 497"/>
                <a:gd name="T12" fmla="*/ 270 w 331"/>
                <a:gd name="T13" fmla="*/ 481 h 497"/>
                <a:gd name="T14" fmla="*/ 267 w 331"/>
                <a:gd name="T15" fmla="*/ 476 h 497"/>
                <a:gd name="T16" fmla="*/ 265 w 331"/>
                <a:gd name="T17" fmla="*/ 470 h 497"/>
                <a:gd name="T18" fmla="*/ 265 w 331"/>
                <a:gd name="T19" fmla="*/ 464 h 497"/>
                <a:gd name="T20" fmla="*/ 265 w 331"/>
                <a:gd name="T21" fmla="*/ 66 h 497"/>
                <a:gd name="T22" fmla="*/ 33 w 331"/>
                <a:gd name="T23" fmla="*/ 66 h 497"/>
                <a:gd name="T24" fmla="*/ 33 w 331"/>
                <a:gd name="T25" fmla="*/ 66 h 497"/>
                <a:gd name="T26" fmla="*/ 27 w 331"/>
                <a:gd name="T27" fmla="*/ 66 h 497"/>
                <a:gd name="T28" fmla="*/ 21 w 331"/>
                <a:gd name="T29" fmla="*/ 64 h 497"/>
                <a:gd name="T30" fmla="*/ 15 w 331"/>
                <a:gd name="T31" fmla="*/ 61 h 497"/>
                <a:gd name="T32" fmla="*/ 11 w 331"/>
                <a:gd name="T33" fmla="*/ 57 h 497"/>
                <a:gd name="T34" fmla="*/ 6 w 331"/>
                <a:gd name="T35" fmla="*/ 52 h 497"/>
                <a:gd name="T36" fmla="*/ 3 w 331"/>
                <a:gd name="T37" fmla="*/ 46 h 497"/>
                <a:gd name="T38" fmla="*/ 1 w 331"/>
                <a:gd name="T39" fmla="*/ 40 h 497"/>
                <a:gd name="T40" fmla="*/ 0 w 331"/>
                <a:gd name="T41" fmla="*/ 33 h 497"/>
                <a:gd name="T42" fmla="*/ 0 w 331"/>
                <a:gd name="T43" fmla="*/ 33 h 497"/>
                <a:gd name="T44" fmla="*/ 1 w 331"/>
                <a:gd name="T45" fmla="*/ 27 h 497"/>
                <a:gd name="T46" fmla="*/ 3 w 331"/>
                <a:gd name="T47" fmla="*/ 20 h 497"/>
                <a:gd name="T48" fmla="*/ 6 w 331"/>
                <a:gd name="T49" fmla="*/ 14 h 497"/>
                <a:gd name="T50" fmla="*/ 11 w 331"/>
                <a:gd name="T51" fmla="*/ 10 h 497"/>
                <a:gd name="T52" fmla="*/ 15 w 331"/>
                <a:gd name="T53" fmla="*/ 6 h 497"/>
                <a:gd name="T54" fmla="*/ 21 w 331"/>
                <a:gd name="T55" fmla="*/ 3 h 497"/>
                <a:gd name="T56" fmla="*/ 27 w 331"/>
                <a:gd name="T57" fmla="*/ 1 h 497"/>
                <a:gd name="T58" fmla="*/ 33 w 331"/>
                <a:gd name="T59" fmla="*/ 0 h 497"/>
                <a:gd name="T60" fmla="*/ 298 w 331"/>
                <a:gd name="T61" fmla="*/ 0 h 497"/>
                <a:gd name="T62" fmla="*/ 298 w 331"/>
                <a:gd name="T63" fmla="*/ 0 h 497"/>
                <a:gd name="T64" fmla="*/ 305 w 331"/>
                <a:gd name="T65" fmla="*/ 1 h 497"/>
                <a:gd name="T66" fmla="*/ 311 w 331"/>
                <a:gd name="T67" fmla="*/ 3 h 497"/>
                <a:gd name="T68" fmla="*/ 317 w 331"/>
                <a:gd name="T69" fmla="*/ 6 h 497"/>
                <a:gd name="T70" fmla="*/ 321 w 331"/>
                <a:gd name="T71" fmla="*/ 10 h 497"/>
                <a:gd name="T72" fmla="*/ 325 w 331"/>
                <a:gd name="T73" fmla="*/ 14 h 497"/>
                <a:gd name="T74" fmla="*/ 328 w 331"/>
                <a:gd name="T75" fmla="*/ 20 h 497"/>
                <a:gd name="T76" fmla="*/ 330 w 331"/>
                <a:gd name="T77" fmla="*/ 27 h 497"/>
                <a:gd name="T78" fmla="*/ 331 w 331"/>
                <a:gd name="T79" fmla="*/ 33 h 497"/>
                <a:gd name="T80" fmla="*/ 331 w 331"/>
                <a:gd name="T81" fmla="*/ 464 h 497"/>
                <a:gd name="T82" fmla="*/ 331 w 331"/>
                <a:gd name="T83" fmla="*/ 464 h 497"/>
                <a:gd name="T84" fmla="*/ 330 w 331"/>
                <a:gd name="T85" fmla="*/ 470 h 497"/>
                <a:gd name="T86" fmla="*/ 328 w 331"/>
                <a:gd name="T87" fmla="*/ 476 h 497"/>
                <a:gd name="T88" fmla="*/ 325 w 331"/>
                <a:gd name="T89" fmla="*/ 481 h 497"/>
                <a:gd name="T90" fmla="*/ 321 w 331"/>
                <a:gd name="T91" fmla="*/ 486 h 497"/>
                <a:gd name="T92" fmla="*/ 317 w 331"/>
                <a:gd name="T93" fmla="*/ 491 h 497"/>
                <a:gd name="T94" fmla="*/ 311 w 331"/>
                <a:gd name="T95" fmla="*/ 494 h 497"/>
                <a:gd name="T96" fmla="*/ 305 w 331"/>
                <a:gd name="T97" fmla="*/ 496 h 497"/>
                <a:gd name="T98" fmla="*/ 298 w 331"/>
                <a:gd name="T99" fmla="*/ 497 h 497"/>
                <a:gd name="T100" fmla="*/ 298 w 331"/>
                <a:gd name="T101" fmla="*/ 497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1" h="497">
                  <a:moveTo>
                    <a:pt x="298" y="497"/>
                  </a:moveTo>
                  <a:lnTo>
                    <a:pt x="298" y="497"/>
                  </a:lnTo>
                  <a:lnTo>
                    <a:pt x="291" y="496"/>
                  </a:lnTo>
                  <a:lnTo>
                    <a:pt x="285" y="494"/>
                  </a:lnTo>
                  <a:lnTo>
                    <a:pt x="280" y="491"/>
                  </a:lnTo>
                  <a:lnTo>
                    <a:pt x="274" y="486"/>
                  </a:lnTo>
                  <a:lnTo>
                    <a:pt x="270" y="481"/>
                  </a:lnTo>
                  <a:lnTo>
                    <a:pt x="267" y="476"/>
                  </a:lnTo>
                  <a:lnTo>
                    <a:pt x="265" y="470"/>
                  </a:lnTo>
                  <a:lnTo>
                    <a:pt x="265" y="464"/>
                  </a:lnTo>
                  <a:lnTo>
                    <a:pt x="265" y="66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27" y="66"/>
                  </a:lnTo>
                  <a:lnTo>
                    <a:pt x="21" y="64"/>
                  </a:lnTo>
                  <a:lnTo>
                    <a:pt x="15" y="61"/>
                  </a:lnTo>
                  <a:lnTo>
                    <a:pt x="11" y="57"/>
                  </a:lnTo>
                  <a:lnTo>
                    <a:pt x="6" y="52"/>
                  </a:lnTo>
                  <a:lnTo>
                    <a:pt x="3" y="46"/>
                  </a:lnTo>
                  <a:lnTo>
                    <a:pt x="1" y="4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6" y="14"/>
                  </a:lnTo>
                  <a:lnTo>
                    <a:pt x="11" y="10"/>
                  </a:lnTo>
                  <a:lnTo>
                    <a:pt x="15" y="6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298" y="0"/>
                  </a:lnTo>
                  <a:lnTo>
                    <a:pt x="298" y="0"/>
                  </a:lnTo>
                  <a:lnTo>
                    <a:pt x="305" y="1"/>
                  </a:lnTo>
                  <a:lnTo>
                    <a:pt x="311" y="3"/>
                  </a:lnTo>
                  <a:lnTo>
                    <a:pt x="317" y="6"/>
                  </a:lnTo>
                  <a:lnTo>
                    <a:pt x="321" y="10"/>
                  </a:lnTo>
                  <a:lnTo>
                    <a:pt x="325" y="14"/>
                  </a:lnTo>
                  <a:lnTo>
                    <a:pt x="328" y="20"/>
                  </a:lnTo>
                  <a:lnTo>
                    <a:pt x="330" y="27"/>
                  </a:lnTo>
                  <a:lnTo>
                    <a:pt x="331" y="33"/>
                  </a:lnTo>
                  <a:lnTo>
                    <a:pt x="331" y="464"/>
                  </a:lnTo>
                  <a:lnTo>
                    <a:pt x="331" y="464"/>
                  </a:lnTo>
                  <a:lnTo>
                    <a:pt x="330" y="470"/>
                  </a:lnTo>
                  <a:lnTo>
                    <a:pt x="328" y="476"/>
                  </a:lnTo>
                  <a:lnTo>
                    <a:pt x="325" y="481"/>
                  </a:lnTo>
                  <a:lnTo>
                    <a:pt x="321" y="486"/>
                  </a:lnTo>
                  <a:lnTo>
                    <a:pt x="317" y="491"/>
                  </a:lnTo>
                  <a:lnTo>
                    <a:pt x="311" y="494"/>
                  </a:lnTo>
                  <a:lnTo>
                    <a:pt x="305" y="496"/>
                  </a:lnTo>
                  <a:lnTo>
                    <a:pt x="298" y="497"/>
                  </a:lnTo>
                  <a:lnTo>
                    <a:pt x="298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97">
              <a:extLst>
                <a:ext uri="{FF2B5EF4-FFF2-40B4-BE49-F238E27FC236}">
                  <a16:creationId xmlns:a16="http://schemas.microsoft.com/office/drawing/2014/main" id="{C3BF5C5D-82D2-CFA4-99C7-BFB0B2C061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5438" y="2168525"/>
              <a:ext cx="134938" cy="104775"/>
            </a:xfrm>
            <a:custGeom>
              <a:avLst/>
              <a:gdLst>
                <a:gd name="T0" fmla="*/ 34 w 595"/>
                <a:gd name="T1" fmla="*/ 463 h 463"/>
                <a:gd name="T2" fmla="*/ 15 w 595"/>
                <a:gd name="T3" fmla="*/ 457 h 463"/>
                <a:gd name="T4" fmla="*/ 3 w 595"/>
                <a:gd name="T5" fmla="*/ 442 h 463"/>
                <a:gd name="T6" fmla="*/ 0 w 595"/>
                <a:gd name="T7" fmla="*/ 165 h 463"/>
                <a:gd name="T8" fmla="*/ 3 w 595"/>
                <a:gd name="T9" fmla="*/ 152 h 463"/>
                <a:gd name="T10" fmla="*/ 15 w 595"/>
                <a:gd name="T11" fmla="*/ 138 h 463"/>
                <a:gd name="T12" fmla="*/ 34 w 595"/>
                <a:gd name="T13" fmla="*/ 131 h 463"/>
                <a:gd name="T14" fmla="*/ 138 w 595"/>
                <a:gd name="T15" fmla="*/ 119 h 463"/>
                <a:gd name="T16" fmla="*/ 153 w 595"/>
                <a:gd name="T17" fmla="*/ 82 h 463"/>
                <a:gd name="T18" fmla="*/ 175 w 595"/>
                <a:gd name="T19" fmla="*/ 50 h 463"/>
                <a:gd name="T20" fmla="*/ 206 w 595"/>
                <a:gd name="T21" fmla="*/ 24 h 463"/>
                <a:gd name="T22" fmla="*/ 248 w 595"/>
                <a:gd name="T23" fmla="*/ 6 h 463"/>
                <a:gd name="T24" fmla="*/ 297 w 595"/>
                <a:gd name="T25" fmla="*/ 0 h 463"/>
                <a:gd name="T26" fmla="*/ 333 w 595"/>
                <a:gd name="T27" fmla="*/ 2 h 463"/>
                <a:gd name="T28" fmla="*/ 376 w 595"/>
                <a:gd name="T29" fmla="*/ 17 h 463"/>
                <a:gd name="T30" fmla="*/ 411 w 595"/>
                <a:gd name="T31" fmla="*/ 40 h 463"/>
                <a:gd name="T32" fmla="*/ 437 w 595"/>
                <a:gd name="T33" fmla="*/ 70 h 463"/>
                <a:gd name="T34" fmla="*/ 454 w 595"/>
                <a:gd name="T35" fmla="*/ 107 h 463"/>
                <a:gd name="T36" fmla="*/ 562 w 595"/>
                <a:gd name="T37" fmla="*/ 131 h 463"/>
                <a:gd name="T38" fmla="*/ 576 w 595"/>
                <a:gd name="T39" fmla="*/ 135 h 463"/>
                <a:gd name="T40" fmla="*/ 590 w 595"/>
                <a:gd name="T41" fmla="*/ 146 h 463"/>
                <a:gd name="T42" fmla="*/ 595 w 595"/>
                <a:gd name="T43" fmla="*/ 165 h 463"/>
                <a:gd name="T44" fmla="*/ 594 w 595"/>
                <a:gd name="T45" fmla="*/ 436 h 463"/>
                <a:gd name="T46" fmla="*/ 586 w 595"/>
                <a:gd name="T47" fmla="*/ 454 h 463"/>
                <a:gd name="T48" fmla="*/ 570 w 595"/>
                <a:gd name="T49" fmla="*/ 462 h 463"/>
                <a:gd name="T50" fmla="*/ 67 w 595"/>
                <a:gd name="T51" fmla="*/ 397 h 463"/>
                <a:gd name="T52" fmla="*/ 430 w 595"/>
                <a:gd name="T53" fmla="*/ 198 h 463"/>
                <a:gd name="T54" fmla="*/ 417 w 595"/>
                <a:gd name="T55" fmla="*/ 196 h 463"/>
                <a:gd name="T56" fmla="*/ 403 w 595"/>
                <a:gd name="T57" fmla="*/ 183 h 463"/>
                <a:gd name="T58" fmla="*/ 397 w 595"/>
                <a:gd name="T59" fmla="*/ 165 h 463"/>
                <a:gd name="T60" fmla="*/ 395 w 595"/>
                <a:gd name="T61" fmla="*/ 145 h 463"/>
                <a:gd name="T62" fmla="*/ 387 w 595"/>
                <a:gd name="T63" fmla="*/ 120 h 463"/>
                <a:gd name="T64" fmla="*/ 372 w 595"/>
                <a:gd name="T65" fmla="*/ 94 h 463"/>
                <a:gd name="T66" fmla="*/ 343 w 595"/>
                <a:gd name="T67" fmla="*/ 74 h 463"/>
                <a:gd name="T68" fmla="*/ 297 w 595"/>
                <a:gd name="T69" fmla="*/ 65 h 463"/>
                <a:gd name="T70" fmla="*/ 266 w 595"/>
                <a:gd name="T71" fmla="*/ 69 h 463"/>
                <a:gd name="T72" fmla="*/ 232 w 595"/>
                <a:gd name="T73" fmla="*/ 87 h 463"/>
                <a:gd name="T74" fmla="*/ 213 w 595"/>
                <a:gd name="T75" fmla="*/ 112 h 463"/>
                <a:gd name="T76" fmla="*/ 202 w 595"/>
                <a:gd name="T77" fmla="*/ 138 h 463"/>
                <a:gd name="T78" fmla="*/ 199 w 595"/>
                <a:gd name="T79" fmla="*/ 165 h 463"/>
                <a:gd name="T80" fmla="*/ 196 w 595"/>
                <a:gd name="T81" fmla="*/ 178 h 463"/>
                <a:gd name="T82" fmla="*/ 185 w 595"/>
                <a:gd name="T83" fmla="*/ 193 h 463"/>
                <a:gd name="T84" fmla="*/ 166 w 595"/>
                <a:gd name="T85" fmla="*/ 19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95" h="463">
                  <a:moveTo>
                    <a:pt x="562" y="463"/>
                  </a:moveTo>
                  <a:lnTo>
                    <a:pt x="34" y="463"/>
                  </a:lnTo>
                  <a:lnTo>
                    <a:pt x="34" y="463"/>
                  </a:lnTo>
                  <a:lnTo>
                    <a:pt x="26" y="462"/>
                  </a:lnTo>
                  <a:lnTo>
                    <a:pt x="20" y="460"/>
                  </a:lnTo>
                  <a:lnTo>
                    <a:pt x="15" y="457"/>
                  </a:lnTo>
                  <a:lnTo>
                    <a:pt x="10" y="454"/>
                  </a:lnTo>
                  <a:lnTo>
                    <a:pt x="6" y="448"/>
                  </a:lnTo>
                  <a:lnTo>
                    <a:pt x="3" y="442"/>
                  </a:lnTo>
                  <a:lnTo>
                    <a:pt x="1" y="436"/>
                  </a:lnTo>
                  <a:lnTo>
                    <a:pt x="0" y="430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1" y="158"/>
                  </a:lnTo>
                  <a:lnTo>
                    <a:pt x="3" y="152"/>
                  </a:lnTo>
                  <a:lnTo>
                    <a:pt x="6" y="146"/>
                  </a:lnTo>
                  <a:lnTo>
                    <a:pt x="10" y="142"/>
                  </a:lnTo>
                  <a:lnTo>
                    <a:pt x="15" y="138"/>
                  </a:lnTo>
                  <a:lnTo>
                    <a:pt x="20" y="135"/>
                  </a:lnTo>
                  <a:lnTo>
                    <a:pt x="26" y="133"/>
                  </a:lnTo>
                  <a:lnTo>
                    <a:pt x="34" y="131"/>
                  </a:lnTo>
                  <a:lnTo>
                    <a:pt x="136" y="131"/>
                  </a:lnTo>
                  <a:lnTo>
                    <a:pt x="136" y="131"/>
                  </a:lnTo>
                  <a:lnTo>
                    <a:pt x="138" y="119"/>
                  </a:lnTo>
                  <a:lnTo>
                    <a:pt x="142" y="107"/>
                  </a:lnTo>
                  <a:lnTo>
                    <a:pt x="146" y="94"/>
                  </a:lnTo>
                  <a:lnTo>
                    <a:pt x="153" y="82"/>
                  </a:lnTo>
                  <a:lnTo>
                    <a:pt x="159" y="70"/>
                  </a:lnTo>
                  <a:lnTo>
                    <a:pt x="167" y="60"/>
                  </a:lnTo>
                  <a:lnTo>
                    <a:pt x="175" y="50"/>
                  </a:lnTo>
                  <a:lnTo>
                    <a:pt x="185" y="40"/>
                  </a:lnTo>
                  <a:lnTo>
                    <a:pt x="195" y="31"/>
                  </a:lnTo>
                  <a:lnTo>
                    <a:pt x="206" y="24"/>
                  </a:lnTo>
                  <a:lnTo>
                    <a:pt x="220" y="17"/>
                  </a:lnTo>
                  <a:lnTo>
                    <a:pt x="233" y="10"/>
                  </a:lnTo>
                  <a:lnTo>
                    <a:pt x="248" y="6"/>
                  </a:lnTo>
                  <a:lnTo>
                    <a:pt x="263" y="2"/>
                  </a:lnTo>
                  <a:lnTo>
                    <a:pt x="280" y="0"/>
                  </a:lnTo>
                  <a:lnTo>
                    <a:pt x="297" y="0"/>
                  </a:lnTo>
                  <a:lnTo>
                    <a:pt x="297" y="0"/>
                  </a:lnTo>
                  <a:lnTo>
                    <a:pt x="316" y="0"/>
                  </a:lnTo>
                  <a:lnTo>
                    <a:pt x="333" y="2"/>
                  </a:lnTo>
                  <a:lnTo>
                    <a:pt x="348" y="6"/>
                  </a:lnTo>
                  <a:lnTo>
                    <a:pt x="363" y="10"/>
                  </a:lnTo>
                  <a:lnTo>
                    <a:pt x="376" y="17"/>
                  </a:lnTo>
                  <a:lnTo>
                    <a:pt x="390" y="24"/>
                  </a:lnTo>
                  <a:lnTo>
                    <a:pt x="401" y="31"/>
                  </a:lnTo>
                  <a:lnTo>
                    <a:pt x="411" y="40"/>
                  </a:lnTo>
                  <a:lnTo>
                    <a:pt x="421" y="50"/>
                  </a:lnTo>
                  <a:lnTo>
                    <a:pt x="429" y="60"/>
                  </a:lnTo>
                  <a:lnTo>
                    <a:pt x="437" y="70"/>
                  </a:lnTo>
                  <a:lnTo>
                    <a:pt x="443" y="82"/>
                  </a:lnTo>
                  <a:lnTo>
                    <a:pt x="450" y="94"/>
                  </a:lnTo>
                  <a:lnTo>
                    <a:pt x="454" y="107"/>
                  </a:lnTo>
                  <a:lnTo>
                    <a:pt x="458" y="119"/>
                  </a:lnTo>
                  <a:lnTo>
                    <a:pt x="460" y="131"/>
                  </a:lnTo>
                  <a:lnTo>
                    <a:pt x="562" y="131"/>
                  </a:lnTo>
                  <a:lnTo>
                    <a:pt x="562" y="131"/>
                  </a:lnTo>
                  <a:lnTo>
                    <a:pt x="570" y="133"/>
                  </a:lnTo>
                  <a:lnTo>
                    <a:pt x="576" y="135"/>
                  </a:lnTo>
                  <a:lnTo>
                    <a:pt x="581" y="138"/>
                  </a:lnTo>
                  <a:lnTo>
                    <a:pt x="586" y="142"/>
                  </a:lnTo>
                  <a:lnTo>
                    <a:pt x="590" y="146"/>
                  </a:lnTo>
                  <a:lnTo>
                    <a:pt x="593" y="152"/>
                  </a:lnTo>
                  <a:lnTo>
                    <a:pt x="594" y="158"/>
                  </a:lnTo>
                  <a:lnTo>
                    <a:pt x="595" y="165"/>
                  </a:lnTo>
                  <a:lnTo>
                    <a:pt x="595" y="430"/>
                  </a:lnTo>
                  <a:lnTo>
                    <a:pt x="595" y="430"/>
                  </a:lnTo>
                  <a:lnTo>
                    <a:pt x="594" y="436"/>
                  </a:lnTo>
                  <a:lnTo>
                    <a:pt x="593" y="442"/>
                  </a:lnTo>
                  <a:lnTo>
                    <a:pt x="590" y="448"/>
                  </a:lnTo>
                  <a:lnTo>
                    <a:pt x="586" y="454"/>
                  </a:lnTo>
                  <a:lnTo>
                    <a:pt x="581" y="457"/>
                  </a:lnTo>
                  <a:lnTo>
                    <a:pt x="576" y="460"/>
                  </a:lnTo>
                  <a:lnTo>
                    <a:pt x="570" y="462"/>
                  </a:lnTo>
                  <a:lnTo>
                    <a:pt x="562" y="463"/>
                  </a:lnTo>
                  <a:lnTo>
                    <a:pt x="562" y="463"/>
                  </a:lnTo>
                  <a:close/>
                  <a:moveTo>
                    <a:pt x="67" y="397"/>
                  </a:moveTo>
                  <a:lnTo>
                    <a:pt x="529" y="397"/>
                  </a:lnTo>
                  <a:lnTo>
                    <a:pt x="529" y="198"/>
                  </a:lnTo>
                  <a:lnTo>
                    <a:pt x="430" y="198"/>
                  </a:lnTo>
                  <a:lnTo>
                    <a:pt x="430" y="198"/>
                  </a:lnTo>
                  <a:lnTo>
                    <a:pt x="424" y="198"/>
                  </a:lnTo>
                  <a:lnTo>
                    <a:pt x="417" y="196"/>
                  </a:lnTo>
                  <a:lnTo>
                    <a:pt x="411" y="193"/>
                  </a:lnTo>
                  <a:lnTo>
                    <a:pt x="407" y="188"/>
                  </a:lnTo>
                  <a:lnTo>
                    <a:pt x="403" y="183"/>
                  </a:lnTo>
                  <a:lnTo>
                    <a:pt x="400" y="178"/>
                  </a:lnTo>
                  <a:lnTo>
                    <a:pt x="398" y="172"/>
                  </a:lnTo>
                  <a:lnTo>
                    <a:pt x="397" y="165"/>
                  </a:lnTo>
                  <a:lnTo>
                    <a:pt x="397" y="165"/>
                  </a:lnTo>
                  <a:lnTo>
                    <a:pt x="397" y="157"/>
                  </a:lnTo>
                  <a:lnTo>
                    <a:pt x="395" y="145"/>
                  </a:lnTo>
                  <a:lnTo>
                    <a:pt x="394" y="138"/>
                  </a:lnTo>
                  <a:lnTo>
                    <a:pt x="392" y="129"/>
                  </a:lnTo>
                  <a:lnTo>
                    <a:pt x="387" y="120"/>
                  </a:lnTo>
                  <a:lnTo>
                    <a:pt x="383" y="112"/>
                  </a:lnTo>
                  <a:lnTo>
                    <a:pt x="378" y="103"/>
                  </a:lnTo>
                  <a:lnTo>
                    <a:pt x="372" y="94"/>
                  </a:lnTo>
                  <a:lnTo>
                    <a:pt x="364" y="87"/>
                  </a:lnTo>
                  <a:lnTo>
                    <a:pt x="354" y="80"/>
                  </a:lnTo>
                  <a:lnTo>
                    <a:pt x="343" y="74"/>
                  </a:lnTo>
                  <a:lnTo>
                    <a:pt x="330" y="69"/>
                  </a:lnTo>
                  <a:lnTo>
                    <a:pt x="315" y="66"/>
                  </a:lnTo>
                  <a:lnTo>
                    <a:pt x="297" y="65"/>
                  </a:lnTo>
                  <a:lnTo>
                    <a:pt x="297" y="65"/>
                  </a:lnTo>
                  <a:lnTo>
                    <a:pt x="281" y="66"/>
                  </a:lnTo>
                  <a:lnTo>
                    <a:pt x="266" y="69"/>
                  </a:lnTo>
                  <a:lnTo>
                    <a:pt x="253" y="74"/>
                  </a:lnTo>
                  <a:lnTo>
                    <a:pt x="242" y="80"/>
                  </a:lnTo>
                  <a:lnTo>
                    <a:pt x="232" y="87"/>
                  </a:lnTo>
                  <a:lnTo>
                    <a:pt x="224" y="94"/>
                  </a:lnTo>
                  <a:lnTo>
                    <a:pt x="218" y="103"/>
                  </a:lnTo>
                  <a:lnTo>
                    <a:pt x="213" y="112"/>
                  </a:lnTo>
                  <a:lnTo>
                    <a:pt x="208" y="120"/>
                  </a:lnTo>
                  <a:lnTo>
                    <a:pt x="204" y="129"/>
                  </a:lnTo>
                  <a:lnTo>
                    <a:pt x="202" y="138"/>
                  </a:lnTo>
                  <a:lnTo>
                    <a:pt x="201" y="145"/>
                  </a:lnTo>
                  <a:lnTo>
                    <a:pt x="199" y="157"/>
                  </a:lnTo>
                  <a:lnTo>
                    <a:pt x="199" y="165"/>
                  </a:lnTo>
                  <a:lnTo>
                    <a:pt x="199" y="165"/>
                  </a:lnTo>
                  <a:lnTo>
                    <a:pt x="198" y="172"/>
                  </a:lnTo>
                  <a:lnTo>
                    <a:pt x="196" y="178"/>
                  </a:lnTo>
                  <a:lnTo>
                    <a:pt x="193" y="183"/>
                  </a:lnTo>
                  <a:lnTo>
                    <a:pt x="189" y="188"/>
                  </a:lnTo>
                  <a:lnTo>
                    <a:pt x="185" y="193"/>
                  </a:lnTo>
                  <a:lnTo>
                    <a:pt x="178" y="196"/>
                  </a:lnTo>
                  <a:lnTo>
                    <a:pt x="172" y="198"/>
                  </a:lnTo>
                  <a:lnTo>
                    <a:pt x="166" y="198"/>
                  </a:lnTo>
                  <a:lnTo>
                    <a:pt x="67" y="198"/>
                  </a:lnTo>
                  <a:lnTo>
                    <a:pt x="67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98">
              <a:extLst>
                <a:ext uri="{FF2B5EF4-FFF2-40B4-BE49-F238E27FC236}">
                  <a16:creationId xmlns:a16="http://schemas.microsoft.com/office/drawing/2014/main" id="{5AE3BBD9-6295-BA58-A624-6599BE228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6088" y="2243138"/>
              <a:ext cx="44450" cy="82550"/>
            </a:xfrm>
            <a:custGeom>
              <a:avLst/>
              <a:gdLst>
                <a:gd name="T0" fmla="*/ 166 w 199"/>
                <a:gd name="T1" fmla="*/ 365 h 365"/>
                <a:gd name="T2" fmla="*/ 166 w 199"/>
                <a:gd name="T3" fmla="*/ 365 h 365"/>
                <a:gd name="T4" fmla="*/ 159 w 199"/>
                <a:gd name="T5" fmla="*/ 364 h 365"/>
                <a:gd name="T6" fmla="*/ 152 w 199"/>
                <a:gd name="T7" fmla="*/ 362 h 365"/>
                <a:gd name="T8" fmla="*/ 147 w 199"/>
                <a:gd name="T9" fmla="*/ 359 h 365"/>
                <a:gd name="T10" fmla="*/ 142 w 199"/>
                <a:gd name="T11" fmla="*/ 354 h 365"/>
                <a:gd name="T12" fmla="*/ 138 w 199"/>
                <a:gd name="T13" fmla="*/ 349 h 365"/>
                <a:gd name="T14" fmla="*/ 135 w 199"/>
                <a:gd name="T15" fmla="*/ 344 h 365"/>
                <a:gd name="T16" fmla="*/ 134 w 199"/>
                <a:gd name="T17" fmla="*/ 338 h 365"/>
                <a:gd name="T18" fmla="*/ 133 w 199"/>
                <a:gd name="T19" fmla="*/ 332 h 365"/>
                <a:gd name="T20" fmla="*/ 133 w 199"/>
                <a:gd name="T21" fmla="*/ 67 h 365"/>
                <a:gd name="T22" fmla="*/ 33 w 199"/>
                <a:gd name="T23" fmla="*/ 67 h 365"/>
                <a:gd name="T24" fmla="*/ 33 w 199"/>
                <a:gd name="T25" fmla="*/ 67 h 365"/>
                <a:gd name="T26" fmla="*/ 27 w 199"/>
                <a:gd name="T27" fmla="*/ 66 h 365"/>
                <a:gd name="T28" fmla="*/ 21 w 199"/>
                <a:gd name="T29" fmla="*/ 63 h 365"/>
                <a:gd name="T30" fmla="*/ 15 w 199"/>
                <a:gd name="T31" fmla="*/ 61 h 365"/>
                <a:gd name="T32" fmla="*/ 11 w 199"/>
                <a:gd name="T33" fmla="*/ 57 h 365"/>
                <a:gd name="T34" fmla="*/ 6 w 199"/>
                <a:gd name="T35" fmla="*/ 52 h 365"/>
                <a:gd name="T36" fmla="*/ 3 w 199"/>
                <a:gd name="T37" fmla="*/ 46 h 365"/>
                <a:gd name="T38" fmla="*/ 1 w 199"/>
                <a:gd name="T39" fmla="*/ 40 h 365"/>
                <a:gd name="T40" fmla="*/ 0 w 199"/>
                <a:gd name="T41" fmla="*/ 33 h 365"/>
                <a:gd name="T42" fmla="*/ 0 w 199"/>
                <a:gd name="T43" fmla="*/ 33 h 365"/>
                <a:gd name="T44" fmla="*/ 1 w 199"/>
                <a:gd name="T45" fmla="*/ 27 h 365"/>
                <a:gd name="T46" fmla="*/ 3 w 199"/>
                <a:gd name="T47" fmla="*/ 21 h 365"/>
                <a:gd name="T48" fmla="*/ 6 w 199"/>
                <a:gd name="T49" fmla="*/ 15 h 365"/>
                <a:gd name="T50" fmla="*/ 11 w 199"/>
                <a:gd name="T51" fmla="*/ 10 h 365"/>
                <a:gd name="T52" fmla="*/ 15 w 199"/>
                <a:gd name="T53" fmla="*/ 7 h 365"/>
                <a:gd name="T54" fmla="*/ 21 w 199"/>
                <a:gd name="T55" fmla="*/ 3 h 365"/>
                <a:gd name="T56" fmla="*/ 27 w 199"/>
                <a:gd name="T57" fmla="*/ 1 h 365"/>
                <a:gd name="T58" fmla="*/ 33 w 199"/>
                <a:gd name="T59" fmla="*/ 0 h 365"/>
                <a:gd name="T60" fmla="*/ 166 w 199"/>
                <a:gd name="T61" fmla="*/ 0 h 365"/>
                <a:gd name="T62" fmla="*/ 166 w 199"/>
                <a:gd name="T63" fmla="*/ 0 h 365"/>
                <a:gd name="T64" fmla="*/ 172 w 199"/>
                <a:gd name="T65" fmla="*/ 1 h 365"/>
                <a:gd name="T66" fmla="*/ 178 w 199"/>
                <a:gd name="T67" fmla="*/ 3 h 365"/>
                <a:gd name="T68" fmla="*/ 184 w 199"/>
                <a:gd name="T69" fmla="*/ 7 h 365"/>
                <a:gd name="T70" fmla="*/ 190 w 199"/>
                <a:gd name="T71" fmla="*/ 10 h 365"/>
                <a:gd name="T72" fmla="*/ 193 w 199"/>
                <a:gd name="T73" fmla="*/ 15 h 365"/>
                <a:gd name="T74" fmla="*/ 196 w 199"/>
                <a:gd name="T75" fmla="*/ 21 h 365"/>
                <a:gd name="T76" fmla="*/ 198 w 199"/>
                <a:gd name="T77" fmla="*/ 27 h 365"/>
                <a:gd name="T78" fmla="*/ 199 w 199"/>
                <a:gd name="T79" fmla="*/ 33 h 365"/>
                <a:gd name="T80" fmla="*/ 199 w 199"/>
                <a:gd name="T81" fmla="*/ 332 h 365"/>
                <a:gd name="T82" fmla="*/ 199 w 199"/>
                <a:gd name="T83" fmla="*/ 332 h 365"/>
                <a:gd name="T84" fmla="*/ 198 w 199"/>
                <a:gd name="T85" fmla="*/ 338 h 365"/>
                <a:gd name="T86" fmla="*/ 196 w 199"/>
                <a:gd name="T87" fmla="*/ 344 h 365"/>
                <a:gd name="T88" fmla="*/ 193 w 199"/>
                <a:gd name="T89" fmla="*/ 349 h 365"/>
                <a:gd name="T90" fmla="*/ 190 w 199"/>
                <a:gd name="T91" fmla="*/ 354 h 365"/>
                <a:gd name="T92" fmla="*/ 184 w 199"/>
                <a:gd name="T93" fmla="*/ 359 h 365"/>
                <a:gd name="T94" fmla="*/ 178 w 199"/>
                <a:gd name="T95" fmla="*/ 362 h 365"/>
                <a:gd name="T96" fmla="*/ 172 w 199"/>
                <a:gd name="T97" fmla="*/ 364 h 365"/>
                <a:gd name="T98" fmla="*/ 166 w 199"/>
                <a:gd name="T99" fmla="*/ 365 h 365"/>
                <a:gd name="T100" fmla="*/ 166 w 199"/>
                <a:gd name="T101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9" h="365">
                  <a:moveTo>
                    <a:pt x="166" y="365"/>
                  </a:moveTo>
                  <a:lnTo>
                    <a:pt x="166" y="365"/>
                  </a:lnTo>
                  <a:lnTo>
                    <a:pt x="159" y="364"/>
                  </a:lnTo>
                  <a:lnTo>
                    <a:pt x="152" y="362"/>
                  </a:lnTo>
                  <a:lnTo>
                    <a:pt x="147" y="359"/>
                  </a:lnTo>
                  <a:lnTo>
                    <a:pt x="142" y="354"/>
                  </a:lnTo>
                  <a:lnTo>
                    <a:pt x="138" y="349"/>
                  </a:lnTo>
                  <a:lnTo>
                    <a:pt x="135" y="344"/>
                  </a:lnTo>
                  <a:lnTo>
                    <a:pt x="134" y="338"/>
                  </a:lnTo>
                  <a:lnTo>
                    <a:pt x="133" y="332"/>
                  </a:lnTo>
                  <a:lnTo>
                    <a:pt x="1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27" y="66"/>
                  </a:lnTo>
                  <a:lnTo>
                    <a:pt x="21" y="63"/>
                  </a:lnTo>
                  <a:lnTo>
                    <a:pt x="15" y="61"/>
                  </a:lnTo>
                  <a:lnTo>
                    <a:pt x="11" y="57"/>
                  </a:lnTo>
                  <a:lnTo>
                    <a:pt x="6" y="52"/>
                  </a:lnTo>
                  <a:lnTo>
                    <a:pt x="3" y="46"/>
                  </a:lnTo>
                  <a:lnTo>
                    <a:pt x="1" y="4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1"/>
                  </a:lnTo>
                  <a:lnTo>
                    <a:pt x="6" y="15"/>
                  </a:lnTo>
                  <a:lnTo>
                    <a:pt x="11" y="10"/>
                  </a:lnTo>
                  <a:lnTo>
                    <a:pt x="15" y="7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72" y="1"/>
                  </a:lnTo>
                  <a:lnTo>
                    <a:pt x="178" y="3"/>
                  </a:lnTo>
                  <a:lnTo>
                    <a:pt x="184" y="7"/>
                  </a:lnTo>
                  <a:lnTo>
                    <a:pt x="190" y="10"/>
                  </a:lnTo>
                  <a:lnTo>
                    <a:pt x="193" y="15"/>
                  </a:lnTo>
                  <a:lnTo>
                    <a:pt x="196" y="21"/>
                  </a:lnTo>
                  <a:lnTo>
                    <a:pt x="198" y="27"/>
                  </a:lnTo>
                  <a:lnTo>
                    <a:pt x="199" y="33"/>
                  </a:lnTo>
                  <a:lnTo>
                    <a:pt x="199" y="332"/>
                  </a:lnTo>
                  <a:lnTo>
                    <a:pt x="199" y="332"/>
                  </a:lnTo>
                  <a:lnTo>
                    <a:pt x="198" y="338"/>
                  </a:lnTo>
                  <a:lnTo>
                    <a:pt x="196" y="344"/>
                  </a:lnTo>
                  <a:lnTo>
                    <a:pt x="193" y="349"/>
                  </a:lnTo>
                  <a:lnTo>
                    <a:pt x="190" y="354"/>
                  </a:lnTo>
                  <a:lnTo>
                    <a:pt x="184" y="359"/>
                  </a:lnTo>
                  <a:lnTo>
                    <a:pt x="178" y="362"/>
                  </a:lnTo>
                  <a:lnTo>
                    <a:pt x="172" y="364"/>
                  </a:lnTo>
                  <a:lnTo>
                    <a:pt x="166" y="365"/>
                  </a:lnTo>
                  <a:lnTo>
                    <a:pt x="166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99">
              <a:extLst>
                <a:ext uri="{FF2B5EF4-FFF2-40B4-BE49-F238E27FC236}">
                  <a16:creationId xmlns:a16="http://schemas.microsoft.com/office/drawing/2014/main" id="{4D50332E-430A-1034-9067-7E65E54DF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1313" y="2303463"/>
              <a:ext cx="88900" cy="15875"/>
            </a:xfrm>
            <a:custGeom>
              <a:avLst/>
              <a:gdLst>
                <a:gd name="T0" fmla="*/ 363 w 396"/>
                <a:gd name="T1" fmla="*/ 67 h 67"/>
                <a:gd name="T2" fmla="*/ 33 w 396"/>
                <a:gd name="T3" fmla="*/ 67 h 67"/>
                <a:gd name="T4" fmla="*/ 33 w 396"/>
                <a:gd name="T5" fmla="*/ 67 h 67"/>
                <a:gd name="T6" fmla="*/ 26 w 396"/>
                <a:gd name="T7" fmla="*/ 66 h 67"/>
                <a:gd name="T8" fmla="*/ 19 w 396"/>
                <a:gd name="T9" fmla="*/ 64 h 67"/>
                <a:gd name="T10" fmla="*/ 14 w 396"/>
                <a:gd name="T11" fmla="*/ 60 h 67"/>
                <a:gd name="T12" fmla="*/ 9 w 396"/>
                <a:gd name="T13" fmla="*/ 56 h 67"/>
                <a:gd name="T14" fmla="*/ 5 w 396"/>
                <a:gd name="T15" fmla="*/ 52 h 67"/>
                <a:gd name="T16" fmla="*/ 2 w 396"/>
                <a:gd name="T17" fmla="*/ 46 h 67"/>
                <a:gd name="T18" fmla="*/ 0 w 396"/>
                <a:gd name="T19" fmla="*/ 40 h 67"/>
                <a:gd name="T20" fmla="*/ 0 w 396"/>
                <a:gd name="T21" fmla="*/ 33 h 67"/>
                <a:gd name="T22" fmla="*/ 0 w 396"/>
                <a:gd name="T23" fmla="*/ 33 h 67"/>
                <a:gd name="T24" fmla="*/ 0 w 396"/>
                <a:gd name="T25" fmla="*/ 26 h 67"/>
                <a:gd name="T26" fmla="*/ 2 w 396"/>
                <a:gd name="T27" fmla="*/ 20 h 67"/>
                <a:gd name="T28" fmla="*/ 5 w 396"/>
                <a:gd name="T29" fmla="*/ 15 h 67"/>
                <a:gd name="T30" fmla="*/ 9 w 396"/>
                <a:gd name="T31" fmla="*/ 10 h 67"/>
                <a:gd name="T32" fmla="*/ 14 w 396"/>
                <a:gd name="T33" fmla="*/ 6 h 67"/>
                <a:gd name="T34" fmla="*/ 19 w 396"/>
                <a:gd name="T35" fmla="*/ 2 h 67"/>
                <a:gd name="T36" fmla="*/ 26 w 396"/>
                <a:gd name="T37" fmla="*/ 0 h 67"/>
                <a:gd name="T38" fmla="*/ 33 w 396"/>
                <a:gd name="T39" fmla="*/ 0 h 67"/>
                <a:gd name="T40" fmla="*/ 363 w 396"/>
                <a:gd name="T41" fmla="*/ 0 h 67"/>
                <a:gd name="T42" fmla="*/ 363 w 396"/>
                <a:gd name="T43" fmla="*/ 0 h 67"/>
                <a:gd name="T44" fmla="*/ 370 w 396"/>
                <a:gd name="T45" fmla="*/ 0 h 67"/>
                <a:gd name="T46" fmla="*/ 376 w 396"/>
                <a:gd name="T47" fmla="*/ 2 h 67"/>
                <a:gd name="T48" fmla="*/ 382 w 396"/>
                <a:gd name="T49" fmla="*/ 6 h 67"/>
                <a:gd name="T50" fmla="*/ 387 w 396"/>
                <a:gd name="T51" fmla="*/ 10 h 67"/>
                <a:gd name="T52" fmla="*/ 391 w 396"/>
                <a:gd name="T53" fmla="*/ 15 h 67"/>
                <a:gd name="T54" fmla="*/ 394 w 396"/>
                <a:gd name="T55" fmla="*/ 20 h 67"/>
                <a:gd name="T56" fmla="*/ 396 w 396"/>
                <a:gd name="T57" fmla="*/ 26 h 67"/>
                <a:gd name="T58" fmla="*/ 396 w 396"/>
                <a:gd name="T59" fmla="*/ 33 h 67"/>
                <a:gd name="T60" fmla="*/ 396 w 396"/>
                <a:gd name="T61" fmla="*/ 33 h 67"/>
                <a:gd name="T62" fmla="*/ 396 w 396"/>
                <a:gd name="T63" fmla="*/ 40 h 67"/>
                <a:gd name="T64" fmla="*/ 394 w 396"/>
                <a:gd name="T65" fmla="*/ 46 h 67"/>
                <a:gd name="T66" fmla="*/ 391 w 396"/>
                <a:gd name="T67" fmla="*/ 52 h 67"/>
                <a:gd name="T68" fmla="*/ 387 w 396"/>
                <a:gd name="T69" fmla="*/ 56 h 67"/>
                <a:gd name="T70" fmla="*/ 382 w 396"/>
                <a:gd name="T71" fmla="*/ 60 h 67"/>
                <a:gd name="T72" fmla="*/ 376 w 396"/>
                <a:gd name="T73" fmla="*/ 64 h 67"/>
                <a:gd name="T74" fmla="*/ 370 w 396"/>
                <a:gd name="T75" fmla="*/ 66 h 67"/>
                <a:gd name="T76" fmla="*/ 363 w 396"/>
                <a:gd name="T77" fmla="*/ 67 h 67"/>
                <a:gd name="T78" fmla="*/ 363 w 396"/>
                <a:gd name="T7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" h="67">
                  <a:moveTo>
                    <a:pt x="363" y="67"/>
                  </a:moveTo>
                  <a:lnTo>
                    <a:pt x="33" y="67"/>
                  </a:lnTo>
                  <a:lnTo>
                    <a:pt x="33" y="67"/>
                  </a:lnTo>
                  <a:lnTo>
                    <a:pt x="26" y="66"/>
                  </a:lnTo>
                  <a:lnTo>
                    <a:pt x="19" y="64"/>
                  </a:lnTo>
                  <a:lnTo>
                    <a:pt x="14" y="60"/>
                  </a:lnTo>
                  <a:lnTo>
                    <a:pt x="9" y="56"/>
                  </a:lnTo>
                  <a:lnTo>
                    <a:pt x="5" y="52"/>
                  </a:lnTo>
                  <a:lnTo>
                    <a:pt x="2" y="46"/>
                  </a:lnTo>
                  <a:lnTo>
                    <a:pt x="0" y="4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9" y="10"/>
                  </a:lnTo>
                  <a:lnTo>
                    <a:pt x="14" y="6"/>
                  </a:lnTo>
                  <a:lnTo>
                    <a:pt x="19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63" y="0"/>
                  </a:lnTo>
                  <a:lnTo>
                    <a:pt x="363" y="0"/>
                  </a:lnTo>
                  <a:lnTo>
                    <a:pt x="370" y="0"/>
                  </a:lnTo>
                  <a:lnTo>
                    <a:pt x="376" y="2"/>
                  </a:lnTo>
                  <a:lnTo>
                    <a:pt x="382" y="6"/>
                  </a:lnTo>
                  <a:lnTo>
                    <a:pt x="387" y="10"/>
                  </a:lnTo>
                  <a:lnTo>
                    <a:pt x="391" y="15"/>
                  </a:lnTo>
                  <a:lnTo>
                    <a:pt x="394" y="20"/>
                  </a:lnTo>
                  <a:lnTo>
                    <a:pt x="396" y="26"/>
                  </a:lnTo>
                  <a:lnTo>
                    <a:pt x="396" y="33"/>
                  </a:lnTo>
                  <a:lnTo>
                    <a:pt x="396" y="33"/>
                  </a:lnTo>
                  <a:lnTo>
                    <a:pt x="396" y="40"/>
                  </a:lnTo>
                  <a:lnTo>
                    <a:pt x="394" y="46"/>
                  </a:lnTo>
                  <a:lnTo>
                    <a:pt x="391" y="52"/>
                  </a:lnTo>
                  <a:lnTo>
                    <a:pt x="387" y="56"/>
                  </a:lnTo>
                  <a:lnTo>
                    <a:pt x="382" y="60"/>
                  </a:lnTo>
                  <a:lnTo>
                    <a:pt x="376" y="64"/>
                  </a:lnTo>
                  <a:lnTo>
                    <a:pt x="370" y="66"/>
                  </a:lnTo>
                  <a:lnTo>
                    <a:pt x="363" y="67"/>
                  </a:lnTo>
                  <a:lnTo>
                    <a:pt x="363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00">
              <a:extLst>
                <a:ext uri="{FF2B5EF4-FFF2-40B4-BE49-F238E27FC236}">
                  <a16:creationId xmlns:a16="http://schemas.microsoft.com/office/drawing/2014/main" id="{54BCC691-3BF4-D8F5-5CC2-78311A546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1313" y="2333625"/>
              <a:ext cx="88900" cy="14288"/>
            </a:xfrm>
            <a:custGeom>
              <a:avLst/>
              <a:gdLst>
                <a:gd name="T0" fmla="*/ 363 w 396"/>
                <a:gd name="T1" fmla="*/ 65 h 65"/>
                <a:gd name="T2" fmla="*/ 33 w 396"/>
                <a:gd name="T3" fmla="*/ 65 h 65"/>
                <a:gd name="T4" fmla="*/ 33 w 396"/>
                <a:gd name="T5" fmla="*/ 65 h 65"/>
                <a:gd name="T6" fmla="*/ 26 w 396"/>
                <a:gd name="T7" fmla="*/ 65 h 65"/>
                <a:gd name="T8" fmla="*/ 19 w 396"/>
                <a:gd name="T9" fmla="*/ 63 h 65"/>
                <a:gd name="T10" fmla="*/ 14 w 396"/>
                <a:gd name="T11" fmla="*/ 60 h 65"/>
                <a:gd name="T12" fmla="*/ 9 w 396"/>
                <a:gd name="T13" fmla="*/ 56 h 65"/>
                <a:gd name="T14" fmla="*/ 5 w 396"/>
                <a:gd name="T15" fmla="*/ 51 h 65"/>
                <a:gd name="T16" fmla="*/ 2 w 396"/>
                <a:gd name="T17" fmla="*/ 45 h 65"/>
                <a:gd name="T18" fmla="*/ 0 w 396"/>
                <a:gd name="T19" fmla="*/ 39 h 65"/>
                <a:gd name="T20" fmla="*/ 0 w 396"/>
                <a:gd name="T21" fmla="*/ 32 h 65"/>
                <a:gd name="T22" fmla="*/ 0 w 396"/>
                <a:gd name="T23" fmla="*/ 32 h 65"/>
                <a:gd name="T24" fmla="*/ 0 w 396"/>
                <a:gd name="T25" fmla="*/ 26 h 65"/>
                <a:gd name="T26" fmla="*/ 2 w 396"/>
                <a:gd name="T27" fmla="*/ 20 h 65"/>
                <a:gd name="T28" fmla="*/ 5 w 396"/>
                <a:gd name="T29" fmla="*/ 14 h 65"/>
                <a:gd name="T30" fmla="*/ 9 w 396"/>
                <a:gd name="T31" fmla="*/ 9 h 65"/>
                <a:gd name="T32" fmla="*/ 14 w 396"/>
                <a:gd name="T33" fmla="*/ 5 h 65"/>
                <a:gd name="T34" fmla="*/ 19 w 396"/>
                <a:gd name="T35" fmla="*/ 2 h 65"/>
                <a:gd name="T36" fmla="*/ 26 w 396"/>
                <a:gd name="T37" fmla="*/ 0 h 65"/>
                <a:gd name="T38" fmla="*/ 33 w 396"/>
                <a:gd name="T39" fmla="*/ 0 h 65"/>
                <a:gd name="T40" fmla="*/ 363 w 396"/>
                <a:gd name="T41" fmla="*/ 0 h 65"/>
                <a:gd name="T42" fmla="*/ 363 w 396"/>
                <a:gd name="T43" fmla="*/ 0 h 65"/>
                <a:gd name="T44" fmla="*/ 370 w 396"/>
                <a:gd name="T45" fmla="*/ 0 h 65"/>
                <a:gd name="T46" fmla="*/ 376 w 396"/>
                <a:gd name="T47" fmla="*/ 2 h 65"/>
                <a:gd name="T48" fmla="*/ 382 w 396"/>
                <a:gd name="T49" fmla="*/ 5 h 65"/>
                <a:gd name="T50" fmla="*/ 387 w 396"/>
                <a:gd name="T51" fmla="*/ 9 h 65"/>
                <a:gd name="T52" fmla="*/ 391 w 396"/>
                <a:gd name="T53" fmla="*/ 14 h 65"/>
                <a:gd name="T54" fmla="*/ 394 w 396"/>
                <a:gd name="T55" fmla="*/ 20 h 65"/>
                <a:gd name="T56" fmla="*/ 396 w 396"/>
                <a:gd name="T57" fmla="*/ 26 h 65"/>
                <a:gd name="T58" fmla="*/ 396 w 396"/>
                <a:gd name="T59" fmla="*/ 32 h 65"/>
                <a:gd name="T60" fmla="*/ 396 w 396"/>
                <a:gd name="T61" fmla="*/ 32 h 65"/>
                <a:gd name="T62" fmla="*/ 396 w 396"/>
                <a:gd name="T63" fmla="*/ 39 h 65"/>
                <a:gd name="T64" fmla="*/ 394 w 396"/>
                <a:gd name="T65" fmla="*/ 45 h 65"/>
                <a:gd name="T66" fmla="*/ 391 w 396"/>
                <a:gd name="T67" fmla="*/ 51 h 65"/>
                <a:gd name="T68" fmla="*/ 387 w 396"/>
                <a:gd name="T69" fmla="*/ 56 h 65"/>
                <a:gd name="T70" fmla="*/ 382 w 396"/>
                <a:gd name="T71" fmla="*/ 60 h 65"/>
                <a:gd name="T72" fmla="*/ 376 w 396"/>
                <a:gd name="T73" fmla="*/ 63 h 65"/>
                <a:gd name="T74" fmla="*/ 370 w 396"/>
                <a:gd name="T75" fmla="*/ 65 h 65"/>
                <a:gd name="T76" fmla="*/ 363 w 396"/>
                <a:gd name="T77" fmla="*/ 65 h 65"/>
                <a:gd name="T78" fmla="*/ 363 w 396"/>
                <a:gd name="T7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" h="65">
                  <a:moveTo>
                    <a:pt x="363" y="65"/>
                  </a:moveTo>
                  <a:lnTo>
                    <a:pt x="33" y="65"/>
                  </a:lnTo>
                  <a:lnTo>
                    <a:pt x="33" y="65"/>
                  </a:lnTo>
                  <a:lnTo>
                    <a:pt x="26" y="65"/>
                  </a:lnTo>
                  <a:lnTo>
                    <a:pt x="19" y="63"/>
                  </a:lnTo>
                  <a:lnTo>
                    <a:pt x="14" y="60"/>
                  </a:lnTo>
                  <a:lnTo>
                    <a:pt x="9" y="56"/>
                  </a:lnTo>
                  <a:lnTo>
                    <a:pt x="5" y="51"/>
                  </a:lnTo>
                  <a:lnTo>
                    <a:pt x="2" y="45"/>
                  </a:lnTo>
                  <a:lnTo>
                    <a:pt x="0" y="3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5"/>
                  </a:lnTo>
                  <a:lnTo>
                    <a:pt x="19" y="2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63" y="0"/>
                  </a:lnTo>
                  <a:lnTo>
                    <a:pt x="363" y="0"/>
                  </a:lnTo>
                  <a:lnTo>
                    <a:pt x="370" y="0"/>
                  </a:lnTo>
                  <a:lnTo>
                    <a:pt x="376" y="2"/>
                  </a:lnTo>
                  <a:lnTo>
                    <a:pt x="382" y="5"/>
                  </a:lnTo>
                  <a:lnTo>
                    <a:pt x="387" y="9"/>
                  </a:lnTo>
                  <a:lnTo>
                    <a:pt x="391" y="14"/>
                  </a:lnTo>
                  <a:lnTo>
                    <a:pt x="394" y="20"/>
                  </a:lnTo>
                  <a:lnTo>
                    <a:pt x="396" y="26"/>
                  </a:lnTo>
                  <a:lnTo>
                    <a:pt x="396" y="32"/>
                  </a:lnTo>
                  <a:lnTo>
                    <a:pt x="396" y="32"/>
                  </a:lnTo>
                  <a:lnTo>
                    <a:pt x="396" y="39"/>
                  </a:lnTo>
                  <a:lnTo>
                    <a:pt x="394" y="45"/>
                  </a:lnTo>
                  <a:lnTo>
                    <a:pt x="391" y="51"/>
                  </a:lnTo>
                  <a:lnTo>
                    <a:pt x="387" y="56"/>
                  </a:lnTo>
                  <a:lnTo>
                    <a:pt x="382" y="60"/>
                  </a:lnTo>
                  <a:lnTo>
                    <a:pt x="376" y="63"/>
                  </a:lnTo>
                  <a:lnTo>
                    <a:pt x="370" y="65"/>
                  </a:lnTo>
                  <a:lnTo>
                    <a:pt x="363" y="65"/>
                  </a:lnTo>
                  <a:lnTo>
                    <a:pt x="363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101">
              <a:extLst>
                <a:ext uri="{FF2B5EF4-FFF2-40B4-BE49-F238E27FC236}">
                  <a16:creationId xmlns:a16="http://schemas.microsoft.com/office/drawing/2014/main" id="{DEF5AD87-4D74-C54F-901C-C709CAD63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1313" y="2363788"/>
              <a:ext cx="88900" cy="14288"/>
            </a:xfrm>
            <a:custGeom>
              <a:avLst/>
              <a:gdLst>
                <a:gd name="T0" fmla="*/ 363 w 396"/>
                <a:gd name="T1" fmla="*/ 67 h 67"/>
                <a:gd name="T2" fmla="*/ 33 w 396"/>
                <a:gd name="T3" fmla="*/ 67 h 67"/>
                <a:gd name="T4" fmla="*/ 33 w 396"/>
                <a:gd name="T5" fmla="*/ 67 h 67"/>
                <a:gd name="T6" fmla="*/ 26 w 396"/>
                <a:gd name="T7" fmla="*/ 67 h 67"/>
                <a:gd name="T8" fmla="*/ 19 w 396"/>
                <a:gd name="T9" fmla="*/ 65 h 67"/>
                <a:gd name="T10" fmla="*/ 14 w 396"/>
                <a:gd name="T11" fmla="*/ 61 h 67"/>
                <a:gd name="T12" fmla="*/ 9 w 396"/>
                <a:gd name="T13" fmla="*/ 57 h 67"/>
                <a:gd name="T14" fmla="*/ 5 w 396"/>
                <a:gd name="T15" fmla="*/ 52 h 67"/>
                <a:gd name="T16" fmla="*/ 2 w 396"/>
                <a:gd name="T17" fmla="*/ 47 h 67"/>
                <a:gd name="T18" fmla="*/ 0 w 396"/>
                <a:gd name="T19" fmla="*/ 41 h 67"/>
                <a:gd name="T20" fmla="*/ 0 w 396"/>
                <a:gd name="T21" fmla="*/ 34 h 67"/>
                <a:gd name="T22" fmla="*/ 0 w 396"/>
                <a:gd name="T23" fmla="*/ 34 h 67"/>
                <a:gd name="T24" fmla="*/ 0 w 396"/>
                <a:gd name="T25" fmla="*/ 27 h 67"/>
                <a:gd name="T26" fmla="*/ 2 w 396"/>
                <a:gd name="T27" fmla="*/ 21 h 67"/>
                <a:gd name="T28" fmla="*/ 5 w 396"/>
                <a:gd name="T29" fmla="*/ 15 h 67"/>
                <a:gd name="T30" fmla="*/ 9 w 396"/>
                <a:gd name="T31" fmla="*/ 11 h 67"/>
                <a:gd name="T32" fmla="*/ 14 w 396"/>
                <a:gd name="T33" fmla="*/ 7 h 67"/>
                <a:gd name="T34" fmla="*/ 19 w 396"/>
                <a:gd name="T35" fmla="*/ 3 h 67"/>
                <a:gd name="T36" fmla="*/ 26 w 396"/>
                <a:gd name="T37" fmla="*/ 1 h 67"/>
                <a:gd name="T38" fmla="*/ 33 w 396"/>
                <a:gd name="T39" fmla="*/ 0 h 67"/>
                <a:gd name="T40" fmla="*/ 363 w 396"/>
                <a:gd name="T41" fmla="*/ 0 h 67"/>
                <a:gd name="T42" fmla="*/ 363 w 396"/>
                <a:gd name="T43" fmla="*/ 0 h 67"/>
                <a:gd name="T44" fmla="*/ 370 w 396"/>
                <a:gd name="T45" fmla="*/ 1 h 67"/>
                <a:gd name="T46" fmla="*/ 376 w 396"/>
                <a:gd name="T47" fmla="*/ 3 h 67"/>
                <a:gd name="T48" fmla="*/ 382 w 396"/>
                <a:gd name="T49" fmla="*/ 7 h 67"/>
                <a:gd name="T50" fmla="*/ 387 w 396"/>
                <a:gd name="T51" fmla="*/ 11 h 67"/>
                <a:gd name="T52" fmla="*/ 391 w 396"/>
                <a:gd name="T53" fmla="*/ 15 h 67"/>
                <a:gd name="T54" fmla="*/ 394 w 396"/>
                <a:gd name="T55" fmla="*/ 21 h 67"/>
                <a:gd name="T56" fmla="*/ 396 w 396"/>
                <a:gd name="T57" fmla="*/ 27 h 67"/>
                <a:gd name="T58" fmla="*/ 396 w 396"/>
                <a:gd name="T59" fmla="*/ 34 h 67"/>
                <a:gd name="T60" fmla="*/ 396 w 396"/>
                <a:gd name="T61" fmla="*/ 34 h 67"/>
                <a:gd name="T62" fmla="*/ 396 w 396"/>
                <a:gd name="T63" fmla="*/ 41 h 67"/>
                <a:gd name="T64" fmla="*/ 394 w 396"/>
                <a:gd name="T65" fmla="*/ 47 h 67"/>
                <a:gd name="T66" fmla="*/ 391 w 396"/>
                <a:gd name="T67" fmla="*/ 52 h 67"/>
                <a:gd name="T68" fmla="*/ 387 w 396"/>
                <a:gd name="T69" fmla="*/ 57 h 67"/>
                <a:gd name="T70" fmla="*/ 382 w 396"/>
                <a:gd name="T71" fmla="*/ 61 h 67"/>
                <a:gd name="T72" fmla="*/ 376 w 396"/>
                <a:gd name="T73" fmla="*/ 65 h 67"/>
                <a:gd name="T74" fmla="*/ 370 w 396"/>
                <a:gd name="T75" fmla="*/ 67 h 67"/>
                <a:gd name="T76" fmla="*/ 363 w 396"/>
                <a:gd name="T77" fmla="*/ 67 h 67"/>
                <a:gd name="T78" fmla="*/ 363 w 396"/>
                <a:gd name="T7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6" h="67">
                  <a:moveTo>
                    <a:pt x="363" y="67"/>
                  </a:moveTo>
                  <a:lnTo>
                    <a:pt x="33" y="67"/>
                  </a:lnTo>
                  <a:lnTo>
                    <a:pt x="33" y="67"/>
                  </a:lnTo>
                  <a:lnTo>
                    <a:pt x="26" y="67"/>
                  </a:lnTo>
                  <a:lnTo>
                    <a:pt x="19" y="65"/>
                  </a:lnTo>
                  <a:lnTo>
                    <a:pt x="14" y="61"/>
                  </a:lnTo>
                  <a:lnTo>
                    <a:pt x="9" y="57"/>
                  </a:lnTo>
                  <a:lnTo>
                    <a:pt x="5" y="52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7"/>
                  </a:lnTo>
                  <a:lnTo>
                    <a:pt x="19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363" y="0"/>
                  </a:lnTo>
                  <a:lnTo>
                    <a:pt x="363" y="0"/>
                  </a:lnTo>
                  <a:lnTo>
                    <a:pt x="370" y="1"/>
                  </a:lnTo>
                  <a:lnTo>
                    <a:pt x="376" y="3"/>
                  </a:lnTo>
                  <a:lnTo>
                    <a:pt x="382" y="7"/>
                  </a:lnTo>
                  <a:lnTo>
                    <a:pt x="387" y="11"/>
                  </a:lnTo>
                  <a:lnTo>
                    <a:pt x="391" y="15"/>
                  </a:lnTo>
                  <a:lnTo>
                    <a:pt x="394" y="21"/>
                  </a:lnTo>
                  <a:lnTo>
                    <a:pt x="396" y="27"/>
                  </a:lnTo>
                  <a:lnTo>
                    <a:pt x="396" y="34"/>
                  </a:lnTo>
                  <a:lnTo>
                    <a:pt x="396" y="34"/>
                  </a:lnTo>
                  <a:lnTo>
                    <a:pt x="396" y="41"/>
                  </a:lnTo>
                  <a:lnTo>
                    <a:pt x="394" y="47"/>
                  </a:lnTo>
                  <a:lnTo>
                    <a:pt x="391" y="52"/>
                  </a:lnTo>
                  <a:lnTo>
                    <a:pt x="387" y="57"/>
                  </a:lnTo>
                  <a:lnTo>
                    <a:pt x="382" y="61"/>
                  </a:lnTo>
                  <a:lnTo>
                    <a:pt x="376" y="65"/>
                  </a:lnTo>
                  <a:lnTo>
                    <a:pt x="370" y="67"/>
                  </a:lnTo>
                  <a:lnTo>
                    <a:pt x="363" y="67"/>
                  </a:lnTo>
                  <a:lnTo>
                    <a:pt x="363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102">
              <a:extLst>
                <a:ext uri="{FF2B5EF4-FFF2-40B4-BE49-F238E27FC236}">
                  <a16:creationId xmlns:a16="http://schemas.microsoft.com/office/drawing/2014/main" id="{97439D0C-B8FE-98BE-B6CF-64FFBC72D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1313" y="2393950"/>
              <a:ext cx="58738" cy="14288"/>
            </a:xfrm>
            <a:custGeom>
              <a:avLst/>
              <a:gdLst>
                <a:gd name="T0" fmla="*/ 230 w 264"/>
                <a:gd name="T1" fmla="*/ 66 h 66"/>
                <a:gd name="T2" fmla="*/ 33 w 264"/>
                <a:gd name="T3" fmla="*/ 66 h 66"/>
                <a:gd name="T4" fmla="*/ 33 w 264"/>
                <a:gd name="T5" fmla="*/ 66 h 66"/>
                <a:gd name="T6" fmla="*/ 26 w 264"/>
                <a:gd name="T7" fmla="*/ 65 h 66"/>
                <a:gd name="T8" fmla="*/ 19 w 264"/>
                <a:gd name="T9" fmla="*/ 64 h 66"/>
                <a:gd name="T10" fmla="*/ 14 w 264"/>
                <a:gd name="T11" fmla="*/ 61 h 66"/>
                <a:gd name="T12" fmla="*/ 9 w 264"/>
                <a:gd name="T13" fmla="*/ 57 h 66"/>
                <a:gd name="T14" fmla="*/ 5 w 264"/>
                <a:gd name="T15" fmla="*/ 52 h 66"/>
                <a:gd name="T16" fmla="*/ 2 w 264"/>
                <a:gd name="T17" fmla="*/ 47 h 66"/>
                <a:gd name="T18" fmla="*/ 0 w 264"/>
                <a:gd name="T19" fmla="*/ 40 h 66"/>
                <a:gd name="T20" fmla="*/ 0 w 264"/>
                <a:gd name="T21" fmla="*/ 33 h 66"/>
                <a:gd name="T22" fmla="*/ 0 w 264"/>
                <a:gd name="T23" fmla="*/ 33 h 66"/>
                <a:gd name="T24" fmla="*/ 0 w 264"/>
                <a:gd name="T25" fmla="*/ 27 h 66"/>
                <a:gd name="T26" fmla="*/ 2 w 264"/>
                <a:gd name="T27" fmla="*/ 21 h 66"/>
                <a:gd name="T28" fmla="*/ 5 w 264"/>
                <a:gd name="T29" fmla="*/ 14 h 66"/>
                <a:gd name="T30" fmla="*/ 9 w 264"/>
                <a:gd name="T31" fmla="*/ 9 h 66"/>
                <a:gd name="T32" fmla="*/ 14 w 264"/>
                <a:gd name="T33" fmla="*/ 6 h 66"/>
                <a:gd name="T34" fmla="*/ 19 w 264"/>
                <a:gd name="T35" fmla="*/ 3 h 66"/>
                <a:gd name="T36" fmla="*/ 26 w 264"/>
                <a:gd name="T37" fmla="*/ 1 h 66"/>
                <a:gd name="T38" fmla="*/ 33 w 264"/>
                <a:gd name="T39" fmla="*/ 0 h 66"/>
                <a:gd name="T40" fmla="*/ 230 w 264"/>
                <a:gd name="T41" fmla="*/ 0 h 66"/>
                <a:gd name="T42" fmla="*/ 230 w 264"/>
                <a:gd name="T43" fmla="*/ 0 h 66"/>
                <a:gd name="T44" fmla="*/ 238 w 264"/>
                <a:gd name="T45" fmla="*/ 1 h 66"/>
                <a:gd name="T46" fmla="*/ 244 w 264"/>
                <a:gd name="T47" fmla="*/ 3 h 66"/>
                <a:gd name="T48" fmla="*/ 249 w 264"/>
                <a:gd name="T49" fmla="*/ 6 h 66"/>
                <a:gd name="T50" fmla="*/ 254 w 264"/>
                <a:gd name="T51" fmla="*/ 9 h 66"/>
                <a:gd name="T52" fmla="*/ 258 w 264"/>
                <a:gd name="T53" fmla="*/ 14 h 66"/>
                <a:gd name="T54" fmla="*/ 261 w 264"/>
                <a:gd name="T55" fmla="*/ 21 h 66"/>
                <a:gd name="T56" fmla="*/ 264 w 264"/>
                <a:gd name="T57" fmla="*/ 27 h 66"/>
                <a:gd name="T58" fmla="*/ 264 w 264"/>
                <a:gd name="T59" fmla="*/ 33 h 66"/>
                <a:gd name="T60" fmla="*/ 264 w 264"/>
                <a:gd name="T61" fmla="*/ 33 h 66"/>
                <a:gd name="T62" fmla="*/ 264 w 264"/>
                <a:gd name="T63" fmla="*/ 40 h 66"/>
                <a:gd name="T64" fmla="*/ 261 w 264"/>
                <a:gd name="T65" fmla="*/ 47 h 66"/>
                <a:gd name="T66" fmla="*/ 258 w 264"/>
                <a:gd name="T67" fmla="*/ 52 h 66"/>
                <a:gd name="T68" fmla="*/ 254 w 264"/>
                <a:gd name="T69" fmla="*/ 57 h 66"/>
                <a:gd name="T70" fmla="*/ 249 w 264"/>
                <a:gd name="T71" fmla="*/ 61 h 66"/>
                <a:gd name="T72" fmla="*/ 244 w 264"/>
                <a:gd name="T73" fmla="*/ 64 h 66"/>
                <a:gd name="T74" fmla="*/ 238 w 264"/>
                <a:gd name="T75" fmla="*/ 65 h 66"/>
                <a:gd name="T76" fmla="*/ 230 w 264"/>
                <a:gd name="T77" fmla="*/ 66 h 66"/>
                <a:gd name="T78" fmla="*/ 230 w 264"/>
                <a:gd name="T7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4" h="66">
                  <a:moveTo>
                    <a:pt x="230" y="66"/>
                  </a:moveTo>
                  <a:lnTo>
                    <a:pt x="33" y="66"/>
                  </a:lnTo>
                  <a:lnTo>
                    <a:pt x="33" y="66"/>
                  </a:lnTo>
                  <a:lnTo>
                    <a:pt x="26" y="65"/>
                  </a:lnTo>
                  <a:lnTo>
                    <a:pt x="19" y="64"/>
                  </a:lnTo>
                  <a:lnTo>
                    <a:pt x="14" y="61"/>
                  </a:lnTo>
                  <a:lnTo>
                    <a:pt x="9" y="57"/>
                  </a:lnTo>
                  <a:lnTo>
                    <a:pt x="5" y="52"/>
                  </a:lnTo>
                  <a:lnTo>
                    <a:pt x="2" y="47"/>
                  </a:lnTo>
                  <a:lnTo>
                    <a:pt x="0" y="40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27"/>
                  </a:lnTo>
                  <a:lnTo>
                    <a:pt x="2" y="21"/>
                  </a:lnTo>
                  <a:lnTo>
                    <a:pt x="5" y="14"/>
                  </a:lnTo>
                  <a:lnTo>
                    <a:pt x="9" y="9"/>
                  </a:lnTo>
                  <a:lnTo>
                    <a:pt x="14" y="6"/>
                  </a:lnTo>
                  <a:lnTo>
                    <a:pt x="19" y="3"/>
                  </a:lnTo>
                  <a:lnTo>
                    <a:pt x="26" y="1"/>
                  </a:lnTo>
                  <a:lnTo>
                    <a:pt x="33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8" y="1"/>
                  </a:lnTo>
                  <a:lnTo>
                    <a:pt x="244" y="3"/>
                  </a:lnTo>
                  <a:lnTo>
                    <a:pt x="249" y="6"/>
                  </a:lnTo>
                  <a:lnTo>
                    <a:pt x="254" y="9"/>
                  </a:lnTo>
                  <a:lnTo>
                    <a:pt x="258" y="14"/>
                  </a:lnTo>
                  <a:lnTo>
                    <a:pt x="261" y="21"/>
                  </a:lnTo>
                  <a:lnTo>
                    <a:pt x="264" y="27"/>
                  </a:lnTo>
                  <a:lnTo>
                    <a:pt x="264" y="33"/>
                  </a:lnTo>
                  <a:lnTo>
                    <a:pt x="264" y="33"/>
                  </a:lnTo>
                  <a:lnTo>
                    <a:pt x="264" y="40"/>
                  </a:lnTo>
                  <a:lnTo>
                    <a:pt x="261" y="47"/>
                  </a:lnTo>
                  <a:lnTo>
                    <a:pt x="258" y="52"/>
                  </a:lnTo>
                  <a:lnTo>
                    <a:pt x="254" y="57"/>
                  </a:lnTo>
                  <a:lnTo>
                    <a:pt x="249" y="61"/>
                  </a:lnTo>
                  <a:lnTo>
                    <a:pt x="244" y="64"/>
                  </a:lnTo>
                  <a:lnTo>
                    <a:pt x="238" y="65"/>
                  </a:lnTo>
                  <a:lnTo>
                    <a:pt x="230" y="66"/>
                  </a:lnTo>
                  <a:lnTo>
                    <a:pt x="23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54" name="Table 61">
            <a:extLst>
              <a:ext uri="{FF2B5EF4-FFF2-40B4-BE49-F238E27FC236}">
                <a16:creationId xmlns:a16="http://schemas.microsoft.com/office/drawing/2014/main" id="{D54451D1-173A-0DD4-3AF9-A3DE8C53B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698259"/>
              </p:ext>
            </p:extLst>
          </p:nvPr>
        </p:nvGraphicFramePr>
        <p:xfrm>
          <a:off x="3540241" y="2109676"/>
          <a:ext cx="4692603" cy="35715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7348">
                  <a:extLst>
                    <a:ext uri="{9D8B030D-6E8A-4147-A177-3AD203B41FA5}">
                      <a16:colId xmlns:a16="http://schemas.microsoft.com/office/drawing/2014/main" val="2408697819"/>
                    </a:ext>
                  </a:extLst>
                </a:gridCol>
                <a:gridCol w="3725255">
                  <a:extLst>
                    <a:ext uri="{9D8B030D-6E8A-4147-A177-3AD203B41FA5}">
                      <a16:colId xmlns:a16="http://schemas.microsoft.com/office/drawing/2014/main" val="1692410648"/>
                    </a:ext>
                  </a:extLst>
                </a:gridCol>
              </a:tblGrid>
              <a:tr h="570340">
                <a:tc>
                  <a:txBody>
                    <a:bodyPr/>
                    <a:lstStyle/>
                    <a:p>
                      <a:endParaRPr lang="en-US" sz="105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Subject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22203"/>
                  </a:ext>
                </a:extLst>
              </a:tr>
              <a:tr h="600235">
                <a:tc>
                  <a:txBody>
                    <a:bodyPr/>
                    <a:lstStyle/>
                    <a:p>
                      <a:pPr marL="0" marR="0" lvl="0" indent="0" algn="ctr" defTabSz="1828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3425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Effra" panose="020B0603020203020204" pitchFamily="34" charset="0"/>
                        </a:rPr>
                        <a:t>Professional Accreditation Overview</a:t>
                      </a:r>
                      <a:endParaRPr lang="ar-SA" sz="1400" b="1" kern="1200" noProof="0" dirty="0">
                        <a:solidFill>
                          <a:srgbClr val="13425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Effra" panose="020B0603020203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6318309"/>
                  </a:ext>
                </a:extLst>
              </a:tr>
              <a:tr h="600235">
                <a:tc>
                  <a:txBody>
                    <a:bodyPr/>
                    <a:lstStyle/>
                    <a:p>
                      <a:pPr marL="0" marR="0" lvl="0" indent="0" algn="ctr" defTabSz="1828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3425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1" kern="120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lifications </a:t>
                      </a:r>
                      <a:r>
                        <a:rPr lang="en-US" sz="1400" b="1" kern="120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erification Program 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584888"/>
                  </a:ext>
                </a:extLst>
              </a:tr>
              <a:tr h="600235">
                <a:tc>
                  <a:txBody>
                    <a:bodyPr/>
                    <a:lstStyle/>
                    <a:p>
                      <a:pPr marL="0" marR="0" lvl="0" indent="0" algn="ctr" defTabSz="1828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425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kills Verification Program 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406394"/>
                  </a:ext>
                </a:extLst>
              </a:tr>
              <a:tr h="600235">
                <a:tc>
                  <a:txBody>
                    <a:bodyPr/>
                    <a:lstStyle/>
                    <a:p>
                      <a:pPr marL="0" marR="0" lvl="0" indent="0" algn="ctr" defTabSz="1828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425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Effra" panose="020B0603020203020204" pitchFamily="34" charset="0"/>
                        </a:rPr>
                        <a:t>Communication and Awareness</a:t>
                      </a:r>
                      <a:endParaRPr lang="en-US" sz="1400" b="1" kern="1200" dirty="0">
                        <a:solidFill>
                          <a:srgbClr val="13425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505525"/>
                  </a:ext>
                </a:extLst>
              </a:tr>
              <a:tr h="600235">
                <a:tc>
                  <a:txBody>
                    <a:bodyPr/>
                    <a:lstStyle/>
                    <a:p>
                      <a:pPr marL="0" marR="0" lvl="0" indent="0" algn="ctr" defTabSz="18288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4258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828800" rtl="1" eaLnBrk="1" latinLnBrk="0" hangingPunct="1"/>
                      <a:r>
                        <a:rPr lang="en-US" sz="1400" b="1" kern="1200" dirty="0">
                          <a:solidFill>
                            <a:srgbClr val="13425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urrent Status and Next Steps</a:t>
                      </a:r>
                    </a:p>
                  </a:txBody>
                  <a:tcPr marL="45720" marR="45720" marT="22860" marB="228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292247"/>
                  </a:ext>
                </a:extLst>
              </a:tr>
            </a:tbl>
          </a:graphicData>
        </a:graphic>
      </p:graphicFrame>
      <p:pic>
        <p:nvPicPr>
          <p:cNvPr id="55" name="Graphic 54" descr="Clipboard outline">
            <a:extLst>
              <a:ext uri="{FF2B5EF4-FFF2-40B4-BE49-F238E27FC236}">
                <a16:creationId xmlns:a16="http://schemas.microsoft.com/office/drawing/2014/main" id="{E8EC2845-CE66-60CA-0DD5-793BD88861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62674" y="2221304"/>
            <a:ext cx="369970" cy="369970"/>
          </a:xfrm>
          <a:prstGeom prst="rect">
            <a:avLst/>
          </a:prstGeom>
        </p:spPr>
      </p:pic>
      <p:sp>
        <p:nvSpPr>
          <p:cNvPr id="57" name="Flowchart: Data 56">
            <a:extLst>
              <a:ext uri="{FF2B5EF4-FFF2-40B4-BE49-F238E27FC236}">
                <a16:creationId xmlns:a16="http://schemas.microsoft.com/office/drawing/2014/main" id="{53F077C1-CEBE-CAFD-C8FD-19FDB90ED1E0}"/>
              </a:ext>
            </a:extLst>
          </p:cNvPr>
          <p:cNvSpPr/>
          <p:nvPr/>
        </p:nvSpPr>
        <p:spPr>
          <a:xfrm>
            <a:off x="3760155" y="2813725"/>
            <a:ext cx="536256" cy="317812"/>
          </a:xfrm>
          <a:prstGeom prst="flowChartInputOutput">
            <a:avLst/>
          </a:prstGeom>
          <a:solidFill>
            <a:srgbClr val="134258"/>
          </a:solidFill>
          <a:ln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defRPr/>
            </a:pPr>
            <a:r>
              <a: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8" name="Flowchart: Data 57">
            <a:extLst>
              <a:ext uri="{FF2B5EF4-FFF2-40B4-BE49-F238E27FC236}">
                <a16:creationId xmlns:a16="http://schemas.microsoft.com/office/drawing/2014/main" id="{055F5A1D-28D3-8600-1F09-668669545935}"/>
              </a:ext>
            </a:extLst>
          </p:cNvPr>
          <p:cNvSpPr/>
          <p:nvPr/>
        </p:nvSpPr>
        <p:spPr>
          <a:xfrm>
            <a:off x="3724643" y="3415428"/>
            <a:ext cx="536256" cy="317812"/>
          </a:xfrm>
          <a:prstGeom prst="flowChartInputOutput">
            <a:avLst/>
          </a:prstGeom>
          <a:solidFill>
            <a:srgbClr val="134258"/>
          </a:solidFill>
          <a:ln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defRPr/>
            </a:pPr>
            <a:r>
              <a:rPr lang="ar-SA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4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Flowchart: Data 58">
            <a:extLst>
              <a:ext uri="{FF2B5EF4-FFF2-40B4-BE49-F238E27FC236}">
                <a16:creationId xmlns:a16="http://schemas.microsoft.com/office/drawing/2014/main" id="{4CBCF947-F767-53A5-7414-AC29E16345EA}"/>
              </a:ext>
            </a:extLst>
          </p:cNvPr>
          <p:cNvSpPr/>
          <p:nvPr/>
        </p:nvSpPr>
        <p:spPr>
          <a:xfrm>
            <a:off x="3671375" y="4544152"/>
            <a:ext cx="536256" cy="317812"/>
          </a:xfrm>
          <a:prstGeom prst="flowChartInputOutput">
            <a:avLst/>
          </a:prstGeom>
          <a:solidFill>
            <a:srgbClr val="134258"/>
          </a:solidFill>
          <a:ln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defRPr/>
            </a:pPr>
            <a:r>
              <a:rPr lang="ar-SA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4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Flowchart: Data 59">
            <a:extLst>
              <a:ext uri="{FF2B5EF4-FFF2-40B4-BE49-F238E27FC236}">
                <a16:creationId xmlns:a16="http://schemas.microsoft.com/office/drawing/2014/main" id="{FD2F2C0F-7E20-B0EB-532A-F54197EFEBE3}"/>
              </a:ext>
            </a:extLst>
          </p:cNvPr>
          <p:cNvSpPr/>
          <p:nvPr/>
        </p:nvSpPr>
        <p:spPr>
          <a:xfrm>
            <a:off x="3698009" y="3990007"/>
            <a:ext cx="536256" cy="317812"/>
          </a:xfrm>
          <a:prstGeom prst="flowChartInputOutput">
            <a:avLst/>
          </a:prstGeom>
          <a:solidFill>
            <a:srgbClr val="134258"/>
          </a:solidFill>
          <a:ln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defRPr/>
            </a:pPr>
            <a:r>
              <a:rPr lang="ar-SA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 descr="A group of people in orange vests and helmets&#10;&#10;Description automatically generated">
            <a:extLst>
              <a:ext uri="{FF2B5EF4-FFF2-40B4-BE49-F238E27FC236}">
                <a16:creationId xmlns:a16="http://schemas.microsoft.com/office/drawing/2014/main" id="{5F35EE32-A5A0-C693-CB40-97086AC92D38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alphaModFix amt="20000"/>
          </a:blip>
          <a:srcRect l="28878" t="4747" r="30977" b="4747"/>
          <a:stretch>
            <a:fillRect/>
          </a:stretch>
        </p:blipFill>
        <p:spPr>
          <a:xfrm>
            <a:off x="8232845" y="1355757"/>
            <a:ext cx="2833013" cy="4461085"/>
          </a:xfrm>
          <a:prstGeom prst="rect">
            <a:avLst/>
          </a:prstGeom>
        </p:spPr>
      </p:pic>
      <p:sp>
        <p:nvSpPr>
          <p:cNvPr id="2" name="Flowchart: Data 1">
            <a:extLst>
              <a:ext uri="{FF2B5EF4-FFF2-40B4-BE49-F238E27FC236}">
                <a16:creationId xmlns:a16="http://schemas.microsoft.com/office/drawing/2014/main" id="{BA182F0B-2FBC-946F-F3AA-0D638C4ACDCD}"/>
              </a:ext>
            </a:extLst>
          </p:cNvPr>
          <p:cNvSpPr/>
          <p:nvPr/>
        </p:nvSpPr>
        <p:spPr>
          <a:xfrm>
            <a:off x="3637344" y="5158193"/>
            <a:ext cx="536256" cy="317812"/>
          </a:xfrm>
          <a:prstGeom prst="flowChartInputOutput">
            <a:avLst/>
          </a:prstGeom>
          <a:solidFill>
            <a:srgbClr val="134258"/>
          </a:solidFill>
          <a:ln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defRPr/>
            </a:pPr>
            <a:r>
              <a: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658131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Data 7">
            <a:extLst>
              <a:ext uri="{FF2B5EF4-FFF2-40B4-BE49-F238E27FC236}">
                <a16:creationId xmlns:a16="http://schemas.microsoft.com/office/drawing/2014/main" id="{314D2263-763A-D9D3-3A9A-181B2F058285}"/>
              </a:ext>
            </a:extLst>
          </p:cNvPr>
          <p:cNvSpPr/>
          <p:nvPr/>
        </p:nvSpPr>
        <p:spPr>
          <a:xfrm>
            <a:off x="854034" y="3897390"/>
            <a:ext cx="666379" cy="635506"/>
          </a:xfrm>
          <a:prstGeom prst="flowChartInputOutpu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E5BC577-784B-BB35-3437-91D1892EB7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9790" y="3897390"/>
            <a:ext cx="8696802" cy="635506"/>
          </a:xfrm>
        </p:spPr>
        <p:txBody>
          <a:bodyPr/>
          <a:lstStyle/>
          <a:p>
            <a:pPr algn="l" defTabSz="1828800">
              <a:lnSpc>
                <a:spcPct val="100000"/>
              </a:lnSpc>
              <a:spcBef>
                <a:spcPts val="0"/>
              </a:spcBef>
              <a:defRPr/>
            </a:pPr>
            <a:r>
              <a:rPr lang="fr-FR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nication and </a:t>
            </a:r>
            <a:r>
              <a:rPr lang="fr-FR" sz="2800" b="1" dirty="0" err="1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wareness</a:t>
            </a:r>
            <a:endParaRPr lang="fr-FR" sz="2800" b="1" dirty="0">
              <a:solidFill>
                <a:srgbClr val="15828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86867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66000" y="1024533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Communication and Awareness Through S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everal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Channels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F7C331DC-EA8D-AB64-ED40-261356FD3695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7775953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4.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munication and </a:t>
            </a:r>
            <a:r>
              <a:rPr kumimoji="0" lang="fr-F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wareness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CBA7205-693C-7A1F-6A3D-4FFD88224A17}"/>
              </a:ext>
            </a:extLst>
          </p:cNvPr>
          <p:cNvSpPr/>
          <p:nvPr/>
        </p:nvSpPr>
        <p:spPr>
          <a:xfrm flipH="1">
            <a:off x="7991923" y="1595929"/>
            <a:ext cx="2775085" cy="42055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8AE5311A-1E0B-653B-1405-63C9D8A5EACD}"/>
              </a:ext>
            </a:extLst>
          </p:cNvPr>
          <p:cNvSpPr/>
          <p:nvPr/>
        </p:nvSpPr>
        <p:spPr>
          <a:xfrm flipH="1">
            <a:off x="4754610" y="1595929"/>
            <a:ext cx="2775085" cy="42055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5" name="Rectangle 1024">
            <a:extLst>
              <a:ext uri="{FF2B5EF4-FFF2-40B4-BE49-F238E27FC236}">
                <a16:creationId xmlns:a16="http://schemas.microsoft.com/office/drawing/2014/main" id="{28AC61AD-DCEC-E151-1FFB-18FD3D6DADBA}"/>
              </a:ext>
            </a:extLst>
          </p:cNvPr>
          <p:cNvSpPr/>
          <p:nvPr/>
        </p:nvSpPr>
        <p:spPr>
          <a:xfrm flipH="1">
            <a:off x="1464840" y="1595929"/>
            <a:ext cx="2775085" cy="42055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6" name="Title 1">
            <a:extLst>
              <a:ext uri="{FF2B5EF4-FFF2-40B4-BE49-F238E27FC236}">
                <a16:creationId xmlns:a16="http://schemas.microsoft.com/office/drawing/2014/main" id="{A6DC99F3-9717-7228-3C4C-CEBC57CA3297}"/>
              </a:ext>
            </a:extLst>
          </p:cNvPr>
          <p:cNvSpPr txBox="1"/>
          <p:nvPr/>
        </p:nvSpPr>
        <p:spPr>
          <a:xfrm>
            <a:off x="1588376" y="1793917"/>
            <a:ext cx="2579482" cy="5386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2859" tIns="22859" rIns="22859" bIns="22859" anchor="ctr">
            <a:spAutoFit/>
          </a:bodyPr>
          <a:lstStyle>
            <a:lvl1pPr algn="l" defTabSz="1828800">
              <a:defRPr sz="3500">
                <a:solidFill>
                  <a:srgbClr val="000000"/>
                </a:solidFill>
                <a:latin typeface="HRSD-Regular"/>
                <a:ea typeface="HRSD-Regular"/>
                <a:cs typeface="HRSD-Regular"/>
                <a:sym typeface="HRSD-Regular"/>
              </a:defRPr>
            </a:lvl1pPr>
          </a:lstStyle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RSD-Regular"/>
              </a:rPr>
              <a:t>Advertisement in </a:t>
            </a:r>
          </a:p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RSD-Regular"/>
              </a:rPr>
              <a:t>newspapers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RSD-Regular"/>
            </a:endParaRPr>
          </a:p>
        </p:txBody>
      </p:sp>
      <p:pic>
        <p:nvPicPr>
          <p:cNvPr id="1027" name="Picture 1026">
            <a:extLst>
              <a:ext uri="{FF2B5EF4-FFF2-40B4-BE49-F238E27FC236}">
                <a16:creationId xmlns:a16="http://schemas.microsoft.com/office/drawing/2014/main" id="{BE35BF9A-8F70-5DA1-FA83-91106F69A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3085" y="2520784"/>
            <a:ext cx="1107560" cy="129908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</p:pic>
      <p:pic>
        <p:nvPicPr>
          <p:cNvPr id="1029" name="Picture 1028">
            <a:extLst>
              <a:ext uri="{FF2B5EF4-FFF2-40B4-BE49-F238E27FC236}">
                <a16:creationId xmlns:a16="http://schemas.microsoft.com/office/drawing/2014/main" id="{60715BEC-F3F3-9CB8-E9E2-19517CCCAE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1073" y="4490708"/>
            <a:ext cx="1552619" cy="117089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</p:pic>
      <p:pic>
        <p:nvPicPr>
          <p:cNvPr id="1030" name="Picture 1029">
            <a:extLst>
              <a:ext uri="{FF2B5EF4-FFF2-40B4-BE49-F238E27FC236}">
                <a16:creationId xmlns:a16="http://schemas.microsoft.com/office/drawing/2014/main" id="{770B31B4-F319-17D3-0365-61349D9F43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8774" y="3019180"/>
            <a:ext cx="1066427" cy="1395128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</p:pic>
      <p:sp>
        <p:nvSpPr>
          <p:cNvPr id="1031" name="Title 1">
            <a:extLst>
              <a:ext uri="{FF2B5EF4-FFF2-40B4-BE49-F238E27FC236}">
                <a16:creationId xmlns:a16="http://schemas.microsoft.com/office/drawing/2014/main" id="{9C7C0607-45F6-10A9-1CE2-964C6469E200}"/>
              </a:ext>
            </a:extLst>
          </p:cNvPr>
          <p:cNvSpPr txBox="1"/>
          <p:nvPr/>
        </p:nvSpPr>
        <p:spPr>
          <a:xfrm>
            <a:off x="4804808" y="1793917"/>
            <a:ext cx="2455527" cy="5386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2859" tIns="22859" rIns="22859" bIns="22859" anchor="ctr">
            <a:spAutoFit/>
          </a:bodyPr>
          <a:lstStyle>
            <a:lvl1pPr algn="l" defTabSz="1828800">
              <a:defRPr sz="3500">
                <a:solidFill>
                  <a:srgbClr val="000000"/>
                </a:solidFill>
                <a:latin typeface="HRSD-Regular"/>
                <a:ea typeface="HRSD-Regular"/>
                <a:cs typeface="HRSD-Regular"/>
                <a:sym typeface="HRSD-Regular"/>
              </a:defRPr>
            </a:lvl1pPr>
          </a:lstStyle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site Workshops </a:t>
            </a:r>
          </a:p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Panner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RSD-Regular"/>
            </a:endParaRPr>
          </a:p>
        </p:txBody>
      </p:sp>
      <p:sp>
        <p:nvSpPr>
          <p:cNvPr id="1033" name="Title 1">
            <a:extLst>
              <a:ext uri="{FF2B5EF4-FFF2-40B4-BE49-F238E27FC236}">
                <a16:creationId xmlns:a16="http://schemas.microsoft.com/office/drawing/2014/main" id="{6CF22322-8A0C-D6F0-3F08-A30D91925EC2}"/>
              </a:ext>
            </a:extLst>
          </p:cNvPr>
          <p:cNvSpPr txBox="1"/>
          <p:nvPr/>
        </p:nvSpPr>
        <p:spPr>
          <a:xfrm>
            <a:off x="8117725" y="1793917"/>
            <a:ext cx="2472319" cy="5386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2859" tIns="22859" rIns="22859" bIns="22859" anchor="ctr">
            <a:spAutoFit/>
          </a:bodyPr>
          <a:lstStyle>
            <a:lvl1pPr algn="l" defTabSz="1828800">
              <a:defRPr sz="3500">
                <a:solidFill>
                  <a:srgbClr val="000000"/>
                </a:solidFill>
                <a:latin typeface="HRSD-Regular"/>
                <a:ea typeface="HRSD-Regular"/>
                <a:cs typeface="HRSD-Regular"/>
                <a:sym typeface="HRSD-Regular"/>
              </a:defRPr>
            </a:lvl1pPr>
          </a:lstStyle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RSD-Regular"/>
              </a:rPr>
              <a:t>Social media </a:t>
            </a:r>
          </a:p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RSD-Regular"/>
              </a:rPr>
              <a:t>platforms</a:t>
            </a:r>
          </a:p>
        </p:txBody>
      </p:sp>
      <p:pic>
        <p:nvPicPr>
          <p:cNvPr id="1036" name="Picture 1035">
            <a:extLst>
              <a:ext uri="{FF2B5EF4-FFF2-40B4-BE49-F238E27FC236}">
                <a16:creationId xmlns:a16="http://schemas.microsoft.com/office/drawing/2014/main" id="{6AAFF600-1FB0-58D1-3746-361E07A1A0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-4225" b="29004"/>
          <a:stretch/>
        </p:blipFill>
        <p:spPr>
          <a:xfrm>
            <a:off x="8591198" y="4287957"/>
            <a:ext cx="1727031" cy="1373645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</p:pic>
      <p:pic>
        <p:nvPicPr>
          <p:cNvPr id="1037" name="Picture 4">
            <a:extLst>
              <a:ext uri="{FF2B5EF4-FFF2-40B4-BE49-F238E27FC236}">
                <a16:creationId xmlns:a16="http://schemas.microsoft.com/office/drawing/2014/main" id="{BD95AF60-B274-2974-CC50-2E0B8A323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2660" y="2948341"/>
            <a:ext cx="1137385" cy="145192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127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038">
            <a:extLst>
              <a:ext uri="{FF2B5EF4-FFF2-40B4-BE49-F238E27FC236}">
                <a16:creationId xmlns:a16="http://schemas.microsoft.com/office/drawing/2014/main" id="{40A6D933-0FBB-8FC4-287D-9F4C171AB1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2428" y="2591017"/>
            <a:ext cx="1073640" cy="145192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</p:pic>
      <p:pic>
        <p:nvPicPr>
          <p:cNvPr id="1041" name="Picture 10" descr="Image">
            <a:extLst>
              <a:ext uri="{FF2B5EF4-FFF2-40B4-BE49-F238E27FC236}">
                <a16:creationId xmlns:a16="http://schemas.microsoft.com/office/drawing/2014/main" id="{93384526-1C0B-E40D-6EEC-74F2469B3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628" y="2650916"/>
            <a:ext cx="1519464" cy="1139598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4">
            <a:extLst>
              <a:ext uri="{FF2B5EF4-FFF2-40B4-BE49-F238E27FC236}">
                <a16:creationId xmlns:a16="http://schemas.microsoft.com/office/drawing/2014/main" id="{B5296BB2-873E-B35C-1BE0-2580ECCCFD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847" y="3441734"/>
            <a:ext cx="1603217" cy="1202413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8">
            <a:extLst>
              <a:ext uri="{FF2B5EF4-FFF2-40B4-BE49-F238E27FC236}">
                <a16:creationId xmlns:a16="http://schemas.microsoft.com/office/drawing/2014/main" id="{107A96CF-DD19-61BE-6ECA-1CB6E87153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9630" y="4386138"/>
            <a:ext cx="1603217" cy="1199497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A47C2AED-426E-05F1-C5E1-62CC04A39C9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2526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Data 7">
            <a:extLst>
              <a:ext uri="{FF2B5EF4-FFF2-40B4-BE49-F238E27FC236}">
                <a16:creationId xmlns:a16="http://schemas.microsoft.com/office/drawing/2014/main" id="{314D2263-763A-D9D3-3A9A-181B2F058285}"/>
              </a:ext>
            </a:extLst>
          </p:cNvPr>
          <p:cNvSpPr/>
          <p:nvPr/>
        </p:nvSpPr>
        <p:spPr>
          <a:xfrm>
            <a:off x="854034" y="3897390"/>
            <a:ext cx="666379" cy="635506"/>
          </a:xfrm>
          <a:prstGeom prst="flowChartInputOutpu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E5BC577-784B-BB35-3437-91D1892EB7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9790" y="3897390"/>
            <a:ext cx="8696802" cy="635506"/>
          </a:xfrm>
        </p:spPr>
        <p:txBody>
          <a:bodyPr/>
          <a:lstStyle/>
          <a:p>
            <a:pPr algn="l" defTabSz="18288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ent Status and Next steps</a:t>
            </a:r>
          </a:p>
        </p:txBody>
      </p:sp>
    </p:spTree>
    <p:extLst>
      <p:ext uri="{BB962C8B-B14F-4D97-AF65-F5344CB8AC3E}">
        <p14:creationId xmlns:p14="http://schemas.microsoft.com/office/powerpoint/2010/main" val="31484602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66000" y="1024533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The Professional Accreditation is activated in 107 countries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F7C331DC-EA8D-AB64-ED40-261356FD3695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7775953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5.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urrent status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ound Same Side Corner Rectangle 11">
            <a:extLst>
              <a:ext uri="{FF2B5EF4-FFF2-40B4-BE49-F238E27FC236}">
                <a16:creationId xmlns:a16="http://schemas.microsoft.com/office/drawing/2014/main" id="{84E22BA9-3261-3132-CB13-CDCD858F44CD}"/>
              </a:ext>
            </a:extLst>
          </p:cNvPr>
          <p:cNvSpPr/>
          <p:nvPr/>
        </p:nvSpPr>
        <p:spPr>
          <a:xfrm>
            <a:off x="838029" y="2243896"/>
            <a:ext cx="2616795" cy="3352232"/>
          </a:xfrm>
          <a:prstGeom prst="roundRect">
            <a:avLst>
              <a:gd name="adj" fmla="val 2879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9DCEDB-CF8A-8FFF-D320-CBF5108A7198}"/>
              </a:ext>
            </a:extLst>
          </p:cNvPr>
          <p:cNvSpPr/>
          <p:nvPr/>
        </p:nvSpPr>
        <p:spPr>
          <a:xfrm>
            <a:off x="984690" y="1819656"/>
            <a:ext cx="2468310" cy="4754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ualification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2C35373-311C-D80C-9275-A8F3BCFCEDF2}"/>
              </a:ext>
            </a:extLst>
          </p:cNvPr>
          <p:cNvSpPr/>
          <p:nvPr/>
        </p:nvSpPr>
        <p:spPr>
          <a:xfrm>
            <a:off x="762972" y="1810650"/>
            <a:ext cx="443438" cy="47535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50800" dist="50800" dir="5400000" sx="1000" sy="1000" algn="ctr" rotWithShape="0">
              <a:prstClr val="white">
                <a:alpha val="43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16422E0-CC70-E938-E995-0B0F914CF9D7}"/>
              </a:ext>
            </a:extLst>
          </p:cNvPr>
          <p:cNvSpPr/>
          <p:nvPr/>
        </p:nvSpPr>
        <p:spPr>
          <a:xfrm flipH="1">
            <a:off x="694994" y="1773016"/>
            <a:ext cx="550730" cy="510920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4063B3-98C7-40EF-70D6-35DC867588CF}"/>
              </a:ext>
            </a:extLst>
          </p:cNvPr>
          <p:cNvSpPr txBox="1"/>
          <p:nvPr/>
        </p:nvSpPr>
        <p:spPr>
          <a:xfrm>
            <a:off x="794217" y="2164339"/>
            <a:ext cx="325042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VP</a:t>
            </a:r>
            <a:endParaRPr kumimoji="0" lang="en-US" sz="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4D1B6E-D3E6-0893-2AF7-3BCB5D6210A6}"/>
              </a:ext>
            </a:extLst>
          </p:cNvPr>
          <p:cNvGrpSpPr/>
          <p:nvPr/>
        </p:nvGrpSpPr>
        <p:grpSpPr>
          <a:xfrm>
            <a:off x="804432" y="1833706"/>
            <a:ext cx="314972" cy="317774"/>
            <a:chOff x="4081463" y="728663"/>
            <a:chExt cx="357188" cy="360363"/>
          </a:xfrm>
          <a:solidFill>
            <a:srgbClr val="FFFFFF"/>
          </a:solidFill>
        </p:grpSpPr>
        <p:sp>
          <p:nvSpPr>
            <p:cNvPr id="10" name="Freeform 91">
              <a:extLst>
                <a:ext uri="{FF2B5EF4-FFF2-40B4-BE49-F238E27FC236}">
                  <a16:creationId xmlns:a16="http://schemas.microsoft.com/office/drawing/2014/main" id="{2E59D70D-8F12-9D13-D416-A948FF4A6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3" y="936625"/>
              <a:ext cx="141288" cy="152400"/>
            </a:xfrm>
            <a:custGeom>
              <a:avLst/>
              <a:gdLst>
                <a:gd name="T0" fmla="*/ 322 w 534"/>
                <a:gd name="T1" fmla="*/ 576 h 576"/>
                <a:gd name="T2" fmla="*/ 322 w 534"/>
                <a:gd name="T3" fmla="*/ 576 h 576"/>
                <a:gd name="T4" fmla="*/ 320 w 534"/>
                <a:gd name="T5" fmla="*/ 576 h 576"/>
                <a:gd name="T6" fmla="*/ 320 w 534"/>
                <a:gd name="T7" fmla="*/ 576 h 576"/>
                <a:gd name="T8" fmla="*/ 312 w 534"/>
                <a:gd name="T9" fmla="*/ 574 h 576"/>
                <a:gd name="T10" fmla="*/ 305 w 534"/>
                <a:gd name="T11" fmla="*/ 570 h 576"/>
                <a:gd name="T12" fmla="*/ 300 w 534"/>
                <a:gd name="T13" fmla="*/ 565 h 576"/>
                <a:gd name="T14" fmla="*/ 296 w 534"/>
                <a:gd name="T15" fmla="*/ 558 h 576"/>
                <a:gd name="T16" fmla="*/ 228 w 534"/>
                <a:gd name="T17" fmla="*/ 372 h 576"/>
                <a:gd name="T18" fmla="*/ 34 w 534"/>
                <a:gd name="T19" fmla="*/ 405 h 576"/>
                <a:gd name="T20" fmla="*/ 34 w 534"/>
                <a:gd name="T21" fmla="*/ 405 h 576"/>
                <a:gd name="T22" fmla="*/ 25 w 534"/>
                <a:gd name="T23" fmla="*/ 406 h 576"/>
                <a:gd name="T24" fmla="*/ 17 w 534"/>
                <a:gd name="T25" fmla="*/ 404 h 576"/>
                <a:gd name="T26" fmla="*/ 11 w 534"/>
                <a:gd name="T27" fmla="*/ 400 h 576"/>
                <a:gd name="T28" fmla="*/ 5 w 534"/>
                <a:gd name="T29" fmla="*/ 394 h 576"/>
                <a:gd name="T30" fmla="*/ 5 w 534"/>
                <a:gd name="T31" fmla="*/ 394 h 576"/>
                <a:gd name="T32" fmla="*/ 2 w 534"/>
                <a:gd name="T33" fmla="*/ 387 h 576"/>
                <a:gd name="T34" fmla="*/ 0 w 534"/>
                <a:gd name="T35" fmla="*/ 378 h 576"/>
                <a:gd name="T36" fmla="*/ 1 w 534"/>
                <a:gd name="T37" fmla="*/ 370 h 576"/>
                <a:gd name="T38" fmla="*/ 4 w 534"/>
                <a:gd name="T39" fmla="*/ 363 h 576"/>
                <a:gd name="T40" fmla="*/ 214 w 534"/>
                <a:gd name="T41" fmla="*/ 0 h 576"/>
                <a:gd name="T42" fmla="*/ 264 w 534"/>
                <a:gd name="T43" fmla="*/ 28 h 576"/>
                <a:gd name="T44" fmla="*/ 84 w 534"/>
                <a:gd name="T45" fmla="*/ 339 h 576"/>
                <a:gd name="T46" fmla="*/ 243 w 534"/>
                <a:gd name="T47" fmla="*/ 313 h 576"/>
                <a:gd name="T48" fmla="*/ 243 w 534"/>
                <a:gd name="T49" fmla="*/ 313 h 576"/>
                <a:gd name="T50" fmla="*/ 248 w 534"/>
                <a:gd name="T51" fmla="*/ 312 h 576"/>
                <a:gd name="T52" fmla="*/ 252 w 534"/>
                <a:gd name="T53" fmla="*/ 313 h 576"/>
                <a:gd name="T54" fmla="*/ 257 w 534"/>
                <a:gd name="T55" fmla="*/ 314 h 576"/>
                <a:gd name="T56" fmla="*/ 261 w 534"/>
                <a:gd name="T57" fmla="*/ 316 h 576"/>
                <a:gd name="T58" fmla="*/ 265 w 534"/>
                <a:gd name="T59" fmla="*/ 319 h 576"/>
                <a:gd name="T60" fmla="*/ 269 w 534"/>
                <a:gd name="T61" fmla="*/ 322 h 576"/>
                <a:gd name="T62" fmla="*/ 272 w 534"/>
                <a:gd name="T63" fmla="*/ 326 h 576"/>
                <a:gd name="T64" fmla="*/ 274 w 534"/>
                <a:gd name="T65" fmla="*/ 331 h 576"/>
                <a:gd name="T66" fmla="*/ 328 w 534"/>
                <a:gd name="T67" fmla="*/ 482 h 576"/>
                <a:gd name="T68" fmla="*/ 484 w 534"/>
                <a:gd name="T69" fmla="*/ 221 h 576"/>
                <a:gd name="T70" fmla="*/ 534 w 534"/>
                <a:gd name="T71" fmla="*/ 250 h 576"/>
                <a:gd name="T72" fmla="*/ 347 w 534"/>
                <a:gd name="T73" fmla="*/ 563 h 576"/>
                <a:gd name="T74" fmla="*/ 347 w 534"/>
                <a:gd name="T75" fmla="*/ 563 h 576"/>
                <a:gd name="T76" fmla="*/ 343 w 534"/>
                <a:gd name="T77" fmla="*/ 568 h 576"/>
                <a:gd name="T78" fmla="*/ 337 w 534"/>
                <a:gd name="T79" fmla="*/ 573 h 576"/>
                <a:gd name="T80" fmla="*/ 330 w 534"/>
                <a:gd name="T81" fmla="*/ 575 h 576"/>
                <a:gd name="T82" fmla="*/ 322 w 534"/>
                <a:gd name="T83" fmla="*/ 576 h 576"/>
                <a:gd name="T84" fmla="*/ 322 w 534"/>
                <a:gd name="T8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4" h="576">
                  <a:moveTo>
                    <a:pt x="322" y="576"/>
                  </a:moveTo>
                  <a:lnTo>
                    <a:pt x="322" y="576"/>
                  </a:lnTo>
                  <a:lnTo>
                    <a:pt x="320" y="576"/>
                  </a:lnTo>
                  <a:lnTo>
                    <a:pt x="320" y="576"/>
                  </a:lnTo>
                  <a:lnTo>
                    <a:pt x="312" y="574"/>
                  </a:lnTo>
                  <a:lnTo>
                    <a:pt x="305" y="570"/>
                  </a:lnTo>
                  <a:lnTo>
                    <a:pt x="300" y="565"/>
                  </a:lnTo>
                  <a:lnTo>
                    <a:pt x="296" y="558"/>
                  </a:lnTo>
                  <a:lnTo>
                    <a:pt x="228" y="372"/>
                  </a:lnTo>
                  <a:lnTo>
                    <a:pt x="34" y="405"/>
                  </a:lnTo>
                  <a:lnTo>
                    <a:pt x="34" y="405"/>
                  </a:lnTo>
                  <a:lnTo>
                    <a:pt x="25" y="406"/>
                  </a:lnTo>
                  <a:lnTo>
                    <a:pt x="17" y="404"/>
                  </a:lnTo>
                  <a:lnTo>
                    <a:pt x="11" y="400"/>
                  </a:lnTo>
                  <a:lnTo>
                    <a:pt x="5" y="394"/>
                  </a:lnTo>
                  <a:lnTo>
                    <a:pt x="5" y="394"/>
                  </a:lnTo>
                  <a:lnTo>
                    <a:pt x="2" y="387"/>
                  </a:lnTo>
                  <a:lnTo>
                    <a:pt x="0" y="378"/>
                  </a:lnTo>
                  <a:lnTo>
                    <a:pt x="1" y="370"/>
                  </a:lnTo>
                  <a:lnTo>
                    <a:pt x="4" y="363"/>
                  </a:lnTo>
                  <a:lnTo>
                    <a:pt x="214" y="0"/>
                  </a:lnTo>
                  <a:lnTo>
                    <a:pt x="264" y="28"/>
                  </a:lnTo>
                  <a:lnTo>
                    <a:pt x="84" y="339"/>
                  </a:lnTo>
                  <a:lnTo>
                    <a:pt x="243" y="313"/>
                  </a:lnTo>
                  <a:lnTo>
                    <a:pt x="243" y="313"/>
                  </a:lnTo>
                  <a:lnTo>
                    <a:pt x="248" y="312"/>
                  </a:lnTo>
                  <a:lnTo>
                    <a:pt x="252" y="313"/>
                  </a:lnTo>
                  <a:lnTo>
                    <a:pt x="257" y="314"/>
                  </a:lnTo>
                  <a:lnTo>
                    <a:pt x="261" y="316"/>
                  </a:lnTo>
                  <a:lnTo>
                    <a:pt x="265" y="319"/>
                  </a:lnTo>
                  <a:lnTo>
                    <a:pt x="269" y="322"/>
                  </a:lnTo>
                  <a:lnTo>
                    <a:pt x="272" y="326"/>
                  </a:lnTo>
                  <a:lnTo>
                    <a:pt x="274" y="331"/>
                  </a:lnTo>
                  <a:lnTo>
                    <a:pt x="328" y="482"/>
                  </a:lnTo>
                  <a:lnTo>
                    <a:pt x="484" y="221"/>
                  </a:lnTo>
                  <a:lnTo>
                    <a:pt x="534" y="250"/>
                  </a:lnTo>
                  <a:lnTo>
                    <a:pt x="347" y="563"/>
                  </a:lnTo>
                  <a:lnTo>
                    <a:pt x="347" y="563"/>
                  </a:lnTo>
                  <a:lnTo>
                    <a:pt x="343" y="568"/>
                  </a:lnTo>
                  <a:lnTo>
                    <a:pt x="337" y="573"/>
                  </a:lnTo>
                  <a:lnTo>
                    <a:pt x="330" y="575"/>
                  </a:lnTo>
                  <a:lnTo>
                    <a:pt x="322" y="576"/>
                  </a:lnTo>
                  <a:lnTo>
                    <a:pt x="322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92">
              <a:extLst>
                <a:ext uri="{FF2B5EF4-FFF2-40B4-BE49-F238E27FC236}">
                  <a16:creationId xmlns:a16="http://schemas.microsoft.com/office/drawing/2014/main" id="{19C7706B-72B0-4DCF-045B-7B7FED0C1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7363" y="938213"/>
              <a:ext cx="141288" cy="150813"/>
            </a:xfrm>
            <a:custGeom>
              <a:avLst/>
              <a:gdLst>
                <a:gd name="T0" fmla="*/ 210 w 533"/>
                <a:gd name="T1" fmla="*/ 571 h 571"/>
                <a:gd name="T2" fmla="*/ 210 w 533"/>
                <a:gd name="T3" fmla="*/ 571 h 571"/>
                <a:gd name="T4" fmla="*/ 203 w 533"/>
                <a:gd name="T5" fmla="*/ 570 h 571"/>
                <a:gd name="T6" fmla="*/ 196 w 533"/>
                <a:gd name="T7" fmla="*/ 568 h 571"/>
                <a:gd name="T8" fmla="*/ 190 w 533"/>
                <a:gd name="T9" fmla="*/ 563 h 571"/>
                <a:gd name="T10" fmla="*/ 186 w 533"/>
                <a:gd name="T11" fmla="*/ 558 h 571"/>
                <a:gd name="T12" fmla="*/ 0 w 533"/>
                <a:gd name="T13" fmla="*/ 247 h 571"/>
                <a:gd name="T14" fmla="*/ 49 w 533"/>
                <a:gd name="T15" fmla="*/ 218 h 571"/>
                <a:gd name="T16" fmla="*/ 204 w 533"/>
                <a:gd name="T17" fmla="*/ 477 h 571"/>
                <a:gd name="T18" fmla="*/ 260 w 533"/>
                <a:gd name="T19" fmla="*/ 326 h 571"/>
                <a:gd name="T20" fmla="*/ 260 w 533"/>
                <a:gd name="T21" fmla="*/ 326 h 571"/>
                <a:gd name="T22" fmla="*/ 262 w 533"/>
                <a:gd name="T23" fmla="*/ 321 h 571"/>
                <a:gd name="T24" fmla="*/ 265 w 533"/>
                <a:gd name="T25" fmla="*/ 317 h 571"/>
                <a:gd name="T26" fmla="*/ 268 w 533"/>
                <a:gd name="T27" fmla="*/ 314 h 571"/>
                <a:gd name="T28" fmla="*/ 272 w 533"/>
                <a:gd name="T29" fmla="*/ 311 h 571"/>
                <a:gd name="T30" fmla="*/ 276 w 533"/>
                <a:gd name="T31" fmla="*/ 309 h 571"/>
                <a:gd name="T32" fmla="*/ 281 w 533"/>
                <a:gd name="T33" fmla="*/ 308 h 571"/>
                <a:gd name="T34" fmla="*/ 286 w 533"/>
                <a:gd name="T35" fmla="*/ 307 h 571"/>
                <a:gd name="T36" fmla="*/ 291 w 533"/>
                <a:gd name="T37" fmla="*/ 308 h 571"/>
                <a:gd name="T38" fmla="*/ 450 w 533"/>
                <a:gd name="T39" fmla="*/ 334 h 571"/>
                <a:gd name="T40" fmla="*/ 272 w 533"/>
                <a:gd name="T41" fmla="*/ 28 h 571"/>
                <a:gd name="T42" fmla="*/ 322 w 533"/>
                <a:gd name="T43" fmla="*/ 0 h 571"/>
                <a:gd name="T44" fmla="*/ 529 w 533"/>
                <a:gd name="T45" fmla="*/ 358 h 571"/>
                <a:gd name="T46" fmla="*/ 529 w 533"/>
                <a:gd name="T47" fmla="*/ 358 h 571"/>
                <a:gd name="T48" fmla="*/ 532 w 533"/>
                <a:gd name="T49" fmla="*/ 365 h 571"/>
                <a:gd name="T50" fmla="*/ 533 w 533"/>
                <a:gd name="T51" fmla="*/ 373 h 571"/>
                <a:gd name="T52" fmla="*/ 532 w 533"/>
                <a:gd name="T53" fmla="*/ 382 h 571"/>
                <a:gd name="T54" fmla="*/ 528 w 533"/>
                <a:gd name="T55" fmla="*/ 389 h 571"/>
                <a:gd name="T56" fmla="*/ 528 w 533"/>
                <a:gd name="T57" fmla="*/ 389 h 571"/>
                <a:gd name="T58" fmla="*/ 523 w 533"/>
                <a:gd name="T59" fmla="*/ 395 h 571"/>
                <a:gd name="T60" fmla="*/ 515 w 533"/>
                <a:gd name="T61" fmla="*/ 399 h 571"/>
                <a:gd name="T62" fmla="*/ 507 w 533"/>
                <a:gd name="T63" fmla="*/ 401 h 571"/>
                <a:gd name="T64" fmla="*/ 499 w 533"/>
                <a:gd name="T65" fmla="*/ 400 h 571"/>
                <a:gd name="T66" fmla="*/ 304 w 533"/>
                <a:gd name="T67" fmla="*/ 367 h 571"/>
                <a:gd name="T68" fmla="*/ 237 w 533"/>
                <a:gd name="T69" fmla="*/ 553 h 571"/>
                <a:gd name="T70" fmla="*/ 237 w 533"/>
                <a:gd name="T71" fmla="*/ 553 h 571"/>
                <a:gd name="T72" fmla="*/ 234 w 533"/>
                <a:gd name="T73" fmla="*/ 560 h 571"/>
                <a:gd name="T74" fmla="*/ 228 w 533"/>
                <a:gd name="T75" fmla="*/ 565 h 571"/>
                <a:gd name="T76" fmla="*/ 221 w 533"/>
                <a:gd name="T77" fmla="*/ 569 h 571"/>
                <a:gd name="T78" fmla="*/ 213 w 533"/>
                <a:gd name="T79" fmla="*/ 571 h 571"/>
                <a:gd name="T80" fmla="*/ 213 w 533"/>
                <a:gd name="T81" fmla="*/ 571 h 571"/>
                <a:gd name="T82" fmla="*/ 210 w 533"/>
                <a:gd name="T83" fmla="*/ 571 h 571"/>
                <a:gd name="T84" fmla="*/ 210 w 533"/>
                <a:gd name="T85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3" h="571">
                  <a:moveTo>
                    <a:pt x="210" y="571"/>
                  </a:moveTo>
                  <a:lnTo>
                    <a:pt x="210" y="571"/>
                  </a:lnTo>
                  <a:lnTo>
                    <a:pt x="203" y="570"/>
                  </a:lnTo>
                  <a:lnTo>
                    <a:pt x="196" y="568"/>
                  </a:lnTo>
                  <a:lnTo>
                    <a:pt x="190" y="563"/>
                  </a:lnTo>
                  <a:lnTo>
                    <a:pt x="186" y="558"/>
                  </a:lnTo>
                  <a:lnTo>
                    <a:pt x="0" y="247"/>
                  </a:lnTo>
                  <a:lnTo>
                    <a:pt x="49" y="218"/>
                  </a:lnTo>
                  <a:lnTo>
                    <a:pt x="204" y="477"/>
                  </a:lnTo>
                  <a:lnTo>
                    <a:pt x="260" y="326"/>
                  </a:lnTo>
                  <a:lnTo>
                    <a:pt x="260" y="326"/>
                  </a:lnTo>
                  <a:lnTo>
                    <a:pt x="262" y="321"/>
                  </a:lnTo>
                  <a:lnTo>
                    <a:pt x="265" y="317"/>
                  </a:lnTo>
                  <a:lnTo>
                    <a:pt x="268" y="314"/>
                  </a:lnTo>
                  <a:lnTo>
                    <a:pt x="272" y="311"/>
                  </a:lnTo>
                  <a:lnTo>
                    <a:pt x="276" y="309"/>
                  </a:lnTo>
                  <a:lnTo>
                    <a:pt x="281" y="308"/>
                  </a:lnTo>
                  <a:lnTo>
                    <a:pt x="286" y="307"/>
                  </a:lnTo>
                  <a:lnTo>
                    <a:pt x="291" y="308"/>
                  </a:lnTo>
                  <a:lnTo>
                    <a:pt x="450" y="334"/>
                  </a:lnTo>
                  <a:lnTo>
                    <a:pt x="272" y="28"/>
                  </a:lnTo>
                  <a:lnTo>
                    <a:pt x="322" y="0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32" y="365"/>
                  </a:lnTo>
                  <a:lnTo>
                    <a:pt x="533" y="373"/>
                  </a:lnTo>
                  <a:lnTo>
                    <a:pt x="532" y="382"/>
                  </a:lnTo>
                  <a:lnTo>
                    <a:pt x="528" y="389"/>
                  </a:lnTo>
                  <a:lnTo>
                    <a:pt x="528" y="389"/>
                  </a:lnTo>
                  <a:lnTo>
                    <a:pt x="523" y="395"/>
                  </a:lnTo>
                  <a:lnTo>
                    <a:pt x="515" y="399"/>
                  </a:lnTo>
                  <a:lnTo>
                    <a:pt x="507" y="401"/>
                  </a:lnTo>
                  <a:lnTo>
                    <a:pt x="499" y="400"/>
                  </a:lnTo>
                  <a:lnTo>
                    <a:pt x="304" y="367"/>
                  </a:lnTo>
                  <a:lnTo>
                    <a:pt x="237" y="553"/>
                  </a:lnTo>
                  <a:lnTo>
                    <a:pt x="237" y="553"/>
                  </a:lnTo>
                  <a:lnTo>
                    <a:pt x="234" y="560"/>
                  </a:lnTo>
                  <a:lnTo>
                    <a:pt x="228" y="565"/>
                  </a:lnTo>
                  <a:lnTo>
                    <a:pt x="221" y="569"/>
                  </a:lnTo>
                  <a:lnTo>
                    <a:pt x="213" y="571"/>
                  </a:lnTo>
                  <a:lnTo>
                    <a:pt x="213" y="571"/>
                  </a:lnTo>
                  <a:lnTo>
                    <a:pt x="210" y="571"/>
                  </a:lnTo>
                  <a:lnTo>
                    <a:pt x="210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93">
              <a:extLst>
                <a:ext uri="{FF2B5EF4-FFF2-40B4-BE49-F238E27FC236}">
                  <a16:creationId xmlns:a16="http://schemas.microsoft.com/office/drawing/2014/main" id="{BC341DD1-C79E-AEB0-EFE1-4A1C6C4DC7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9563" y="728663"/>
              <a:ext cx="284163" cy="285750"/>
            </a:xfrm>
            <a:custGeom>
              <a:avLst/>
              <a:gdLst>
                <a:gd name="T0" fmla="*/ 456 w 1076"/>
                <a:gd name="T1" fmla="*/ 1071 h 1078"/>
                <a:gd name="T2" fmla="*/ 328 w 1076"/>
                <a:gd name="T3" fmla="*/ 1035 h 1078"/>
                <a:gd name="T4" fmla="*/ 216 w 1076"/>
                <a:gd name="T5" fmla="*/ 971 h 1078"/>
                <a:gd name="T6" fmla="*/ 122 w 1076"/>
                <a:gd name="T7" fmla="*/ 881 h 1078"/>
                <a:gd name="T8" fmla="*/ 52 w 1076"/>
                <a:gd name="T9" fmla="*/ 772 h 1078"/>
                <a:gd name="T10" fmla="*/ 10 w 1076"/>
                <a:gd name="T11" fmla="*/ 647 h 1078"/>
                <a:gd name="T12" fmla="*/ 0 w 1076"/>
                <a:gd name="T13" fmla="*/ 538 h 1078"/>
                <a:gd name="T14" fmla="*/ 16 w 1076"/>
                <a:gd name="T15" fmla="*/ 404 h 1078"/>
                <a:gd name="T16" fmla="*/ 64 w 1076"/>
                <a:gd name="T17" fmla="*/ 283 h 1078"/>
                <a:gd name="T18" fmla="*/ 139 w 1076"/>
                <a:gd name="T19" fmla="*/ 177 h 1078"/>
                <a:gd name="T20" fmla="*/ 237 w 1076"/>
                <a:gd name="T21" fmla="*/ 93 h 1078"/>
                <a:gd name="T22" fmla="*/ 353 w 1076"/>
                <a:gd name="T23" fmla="*/ 33 h 1078"/>
                <a:gd name="T24" fmla="*/ 482 w 1076"/>
                <a:gd name="T25" fmla="*/ 3 h 1078"/>
                <a:gd name="T26" fmla="*/ 593 w 1076"/>
                <a:gd name="T27" fmla="*/ 3 h 1078"/>
                <a:gd name="T28" fmla="*/ 723 w 1076"/>
                <a:gd name="T29" fmla="*/ 33 h 1078"/>
                <a:gd name="T30" fmla="*/ 839 w 1076"/>
                <a:gd name="T31" fmla="*/ 93 h 1078"/>
                <a:gd name="T32" fmla="*/ 936 w 1076"/>
                <a:gd name="T33" fmla="*/ 177 h 1078"/>
                <a:gd name="T34" fmla="*/ 1011 w 1076"/>
                <a:gd name="T35" fmla="*/ 283 h 1078"/>
                <a:gd name="T36" fmla="*/ 1059 w 1076"/>
                <a:gd name="T37" fmla="*/ 404 h 1078"/>
                <a:gd name="T38" fmla="*/ 1076 w 1076"/>
                <a:gd name="T39" fmla="*/ 538 h 1078"/>
                <a:gd name="T40" fmla="*/ 1065 w 1076"/>
                <a:gd name="T41" fmla="*/ 647 h 1078"/>
                <a:gd name="T42" fmla="*/ 1023 w 1076"/>
                <a:gd name="T43" fmla="*/ 772 h 1078"/>
                <a:gd name="T44" fmla="*/ 953 w 1076"/>
                <a:gd name="T45" fmla="*/ 881 h 1078"/>
                <a:gd name="T46" fmla="*/ 860 w 1076"/>
                <a:gd name="T47" fmla="*/ 971 h 1078"/>
                <a:gd name="T48" fmla="*/ 747 w 1076"/>
                <a:gd name="T49" fmla="*/ 1035 h 1078"/>
                <a:gd name="T50" fmla="*/ 620 w 1076"/>
                <a:gd name="T51" fmla="*/ 1071 h 1078"/>
                <a:gd name="T52" fmla="*/ 538 w 1076"/>
                <a:gd name="T53" fmla="*/ 57 h 1078"/>
                <a:gd name="T54" fmla="*/ 441 w 1076"/>
                <a:gd name="T55" fmla="*/ 67 h 1078"/>
                <a:gd name="T56" fmla="*/ 329 w 1076"/>
                <a:gd name="T57" fmla="*/ 105 h 1078"/>
                <a:gd name="T58" fmla="*/ 231 w 1076"/>
                <a:gd name="T59" fmla="*/ 168 h 1078"/>
                <a:gd name="T60" fmla="*/ 152 w 1076"/>
                <a:gd name="T61" fmla="*/ 250 h 1078"/>
                <a:gd name="T62" fmla="*/ 94 w 1076"/>
                <a:gd name="T63" fmla="*/ 351 h 1078"/>
                <a:gd name="T64" fmla="*/ 61 w 1076"/>
                <a:gd name="T65" fmla="*/ 466 h 1078"/>
                <a:gd name="T66" fmla="*/ 56 w 1076"/>
                <a:gd name="T67" fmla="*/ 564 h 1078"/>
                <a:gd name="T68" fmla="*/ 77 w 1076"/>
                <a:gd name="T69" fmla="*/ 682 h 1078"/>
                <a:gd name="T70" fmla="*/ 126 w 1076"/>
                <a:gd name="T71" fmla="*/ 789 h 1078"/>
                <a:gd name="T72" fmla="*/ 198 w 1076"/>
                <a:gd name="T73" fmla="*/ 880 h 1078"/>
                <a:gd name="T74" fmla="*/ 288 w 1076"/>
                <a:gd name="T75" fmla="*/ 950 h 1078"/>
                <a:gd name="T76" fmla="*/ 395 w 1076"/>
                <a:gd name="T77" fmla="*/ 999 h 1078"/>
                <a:gd name="T78" fmla="*/ 513 w 1076"/>
                <a:gd name="T79" fmla="*/ 1020 h 1078"/>
                <a:gd name="T80" fmla="*/ 611 w 1076"/>
                <a:gd name="T81" fmla="*/ 1015 h 1078"/>
                <a:gd name="T82" fmla="*/ 725 w 1076"/>
                <a:gd name="T83" fmla="*/ 983 h 1078"/>
                <a:gd name="T84" fmla="*/ 826 w 1076"/>
                <a:gd name="T85" fmla="*/ 925 h 1078"/>
                <a:gd name="T86" fmla="*/ 910 w 1076"/>
                <a:gd name="T87" fmla="*/ 845 h 1078"/>
                <a:gd name="T88" fmla="*/ 972 w 1076"/>
                <a:gd name="T89" fmla="*/ 747 h 1078"/>
                <a:gd name="T90" fmla="*/ 1010 w 1076"/>
                <a:gd name="T91" fmla="*/ 635 h 1078"/>
                <a:gd name="T92" fmla="*/ 1020 w 1076"/>
                <a:gd name="T93" fmla="*/ 538 h 1078"/>
                <a:gd name="T94" fmla="*/ 1005 w 1076"/>
                <a:gd name="T95" fmla="*/ 418 h 1078"/>
                <a:gd name="T96" fmla="*/ 961 w 1076"/>
                <a:gd name="T97" fmla="*/ 309 h 1078"/>
                <a:gd name="T98" fmla="*/ 895 w 1076"/>
                <a:gd name="T99" fmla="*/ 215 h 1078"/>
                <a:gd name="T100" fmla="*/ 807 w 1076"/>
                <a:gd name="T101" fmla="*/ 139 h 1078"/>
                <a:gd name="T102" fmla="*/ 704 w 1076"/>
                <a:gd name="T103" fmla="*/ 86 h 1078"/>
                <a:gd name="T104" fmla="*/ 586 w 1076"/>
                <a:gd name="T105" fmla="*/ 6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76" h="1078">
                  <a:moveTo>
                    <a:pt x="538" y="1078"/>
                  </a:moveTo>
                  <a:lnTo>
                    <a:pt x="538" y="1078"/>
                  </a:lnTo>
                  <a:lnTo>
                    <a:pt x="510" y="1077"/>
                  </a:lnTo>
                  <a:lnTo>
                    <a:pt x="482" y="1075"/>
                  </a:lnTo>
                  <a:lnTo>
                    <a:pt x="456" y="1071"/>
                  </a:lnTo>
                  <a:lnTo>
                    <a:pt x="429" y="1067"/>
                  </a:lnTo>
                  <a:lnTo>
                    <a:pt x="404" y="1060"/>
                  </a:lnTo>
                  <a:lnTo>
                    <a:pt x="377" y="1053"/>
                  </a:lnTo>
                  <a:lnTo>
                    <a:pt x="353" y="1044"/>
                  </a:lnTo>
                  <a:lnTo>
                    <a:pt x="328" y="1035"/>
                  </a:lnTo>
                  <a:lnTo>
                    <a:pt x="305" y="1024"/>
                  </a:lnTo>
                  <a:lnTo>
                    <a:pt x="281" y="1012"/>
                  </a:lnTo>
                  <a:lnTo>
                    <a:pt x="258" y="999"/>
                  </a:lnTo>
                  <a:lnTo>
                    <a:pt x="237" y="985"/>
                  </a:lnTo>
                  <a:lnTo>
                    <a:pt x="216" y="971"/>
                  </a:lnTo>
                  <a:lnTo>
                    <a:pt x="196" y="954"/>
                  </a:lnTo>
                  <a:lnTo>
                    <a:pt x="175" y="937"/>
                  </a:lnTo>
                  <a:lnTo>
                    <a:pt x="157" y="919"/>
                  </a:lnTo>
                  <a:lnTo>
                    <a:pt x="139" y="901"/>
                  </a:lnTo>
                  <a:lnTo>
                    <a:pt x="122" y="881"/>
                  </a:lnTo>
                  <a:lnTo>
                    <a:pt x="107" y="860"/>
                  </a:lnTo>
                  <a:lnTo>
                    <a:pt x="92" y="839"/>
                  </a:lnTo>
                  <a:lnTo>
                    <a:pt x="77" y="818"/>
                  </a:lnTo>
                  <a:lnTo>
                    <a:pt x="64" y="795"/>
                  </a:lnTo>
                  <a:lnTo>
                    <a:pt x="52" y="772"/>
                  </a:lnTo>
                  <a:lnTo>
                    <a:pt x="42" y="748"/>
                  </a:lnTo>
                  <a:lnTo>
                    <a:pt x="32" y="724"/>
                  </a:lnTo>
                  <a:lnTo>
                    <a:pt x="24" y="699"/>
                  </a:lnTo>
                  <a:lnTo>
                    <a:pt x="16" y="674"/>
                  </a:lnTo>
                  <a:lnTo>
                    <a:pt x="10" y="647"/>
                  </a:lnTo>
                  <a:lnTo>
                    <a:pt x="6" y="621"/>
                  </a:lnTo>
                  <a:lnTo>
                    <a:pt x="2" y="594"/>
                  </a:lnTo>
                  <a:lnTo>
                    <a:pt x="0" y="567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11"/>
                  </a:lnTo>
                  <a:lnTo>
                    <a:pt x="2" y="484"/>
                  </a:lnTo>
                  <a:lnTo>
                    <a:pt x="6" y="456"/>
                  </a:lnTo>
                  <a:lnTo>
                    <a:pt x="10" y="430"/>
                  </a:lnTo>
                  <a:lnTo>
                    <a:pt x="16" y="404"/>
                  </a:lnTo>
                  <a:lnTo>
                    <a:pt x="24" y="379"/>
                  </a:lnTo>
                  <a:lnTo>
                    <a:pt x="32" y="353"/>
                  </a:lnTo>
                  <a:lnTo>
                    <a:pt x="42" y="329"/>
                  </a:lnTo>
                  <a:lnTo>
                    <a:pt x="52" y="306"/>
                  </a:lnTo>
                  <a:lnTo>
                    <a:pt x="64" y="283"/>
                  </a:lnTo>
                  <a:lnTo>
                    <a:pt x="77" y="260"/>
                  </a:lnTo>
                  <a:lnTo>
                    <a:pt x="92" y="238"/>
                  </a:lnTo>
                  <a:lnTo>
                    <a:pt x="107" y="217"/>
                  </a:lnTo>
                  <a:lnTo>
                    <a:pt x="122" y="197"/>
                  </a:lnTo>
                  <a:lnTo>
                    <a:pt x="139" y="177"/>
                  </a:lnTo>
                  <a:lnTo>
                    <a:pt x="157" y="159"/>
                  </a:lnTo>
                  <a:lnTo>
                    <a:pt x="175" y="140"/>
                  </a:lnTo>
                  <a:lnTo>
                    <a:pt x="196" y="123"/>
                  </a:lnTo>
                  <a:lnTo>
                    <a:pt x="216" y="107"/>
                  </a:lnTo>
                  <a:lnTo>
                    <a:pt x="237" y="93"/>
                  </a:lnTo>
                  <a:lnTo>
                    <a:pt x="258" y="79"/>
                  </a:lnTo>
                  <a:lnTo>
                    <a:pt x="281" y="66"/>
                  </a:lnTo>
                  <a:lnTo>
                    <a:pt x="305" y="53"/>
                  </a:lnTo>
                  <a:lnTo>
                    <a:pt x="328" y="42"/>
                  </a:lnTo>
                  <a:lnTo>
                    <a:pt x="353" y="33"/>
                  </a:lnTo>
                  <a:lnTo>
                    <a:pt x="377" y="24"/>
                  </a:lnTo>
                  <a:lnTo>
                    <a:pt x="404" y="17"/>
                  </a:lnTo>
                  <a:lnTo>
                    <a:pt x="429" y="11"/>
                  </a:lnTo>
                  <a:lnTo>
                    <a:pt x="456" y="6"/>
                  </a:lnTo>
                  <a:lnTo>
                    <a:pt x="482" y="3"/>
                  </a:lnTo>
                  <a:lnTo>
                    <a:pt x="510" y="1"/>
                  </a:lnTo>
                  <a:lnTo>
                    <a:pt x="538" y="0"/>
                  </a:lnTo>
                  <a:lnTo>
                    <a:pt x="538" y="0"/>
                  </a:lnTo>
                  <a:lnTo>
                    <a:pt x="565" y="1"/>
                  </a:lnTo>
                  <a:lnTo>
                    <a:pt x="593" y="3"/>
                  </a:lnTo>
                  <a:lnTo>
                    <a:pt x="620" y="6"/>
                  </a:lnTo>
                  <a:lnTo>
                    <a:pt x="646" y="11"/>
                  </a:lnTo>
                  <a:lnTo>
                    <a:pt x="672" y="17"/>
                  </a:lnTo>
                  <a:lnTo>
                    <a:pt x="698" y="24"/>
                  </a:lnTo>
                  <a:lnTo>
                    <a:pt x="723" y="33"/>
                  </a:lnTo>
                  <a:lnTo>
                    <a:pt x="747" y="42"/>
                  </a:lnTo>
                  <a:lnTo>
                    <a:pt x="771" y="53"/>
                  </a:lnTo>
                  <a:lnTo>
                    <a:pt x="795" y="66"/>
                  </a:lnTo>
                  <a:lnTo>
                    <a:pt x="817" y="79"/>
                  </a:lnTo>
                  <a:lnTo>
                    <a:pt x="839" y="93"/>
                  </a:lnTo>
                  <a:lnTo>
                    <a:pt x="860" y="107"/>
                  </a:lnTo>
                  <a:lnTo>
                    <a:pt x="880" y="123"/>
                  </a:lnTo>
                  <a:lnTo>
                    <a:pt x="900" y="140"/>
                  </a:lnTo>
                  <a:lnTo>
                    <a:pt x="919" y="159"/>
                  </a:lnTo>
                  <a:lnTo>
                    <a:pt x="936" y="177"/>
                  </a:lnTo>
                  <a:lnTo>
                    <a:pt x="953" y="197"/>
                  </a:lnTo>
                  <a:lnTo>
                    <a:pt x="969" y="217"/>
                  </a:lnTo>
                  <a:lnTo>
                    <a:pt x="984" y="238"/>
                  </a:lnTo>
                  <a:lnTo>
                    <a:pt x="999" y="260"/>
                  </a:lnTo>
                  <a:lnTo>
                    <a:pt x="1011" y="283"/>
                  </a:lnTo>
                  <a:lnTo>
                    <a:pt x="1023" y="306"/>
                  </a:lnTo>
                  <a:lnTo>
                    <a:pt x="1034" y="329"/>
                  </a:lnTo>
                  <a:lnTo>
                    <a:pt x="1043" y="353"/>
                  </a:lnTo>
                  <a:lnTo>
                    <a:pt x="1052" y="379"/>
                  </a:lnTo>
                  <a:lnTo>
                    <a:pt x="1059" y="404"/>
                  </a:lnTo>
                  <a:lnTo>
                    <a:pt x="1065" y="430"/>
                  </a:lnTo>
                  <a:lnTo>
                    <a:pt x="1070" y="456"/>
                  </a:lnTo>
                  <a:lnTo>
                    <a:pt x="1073" y="484"/>
                  </a:lnTo>
                  <a:lnTo>
                    <a:pt x="1075" y="511"/>
                  </a:lnTo>
                  <a:lnTo>
                    <a:pt x="1076" y="538"/>
                  </a:lnTo>
                  <a:lnTo>
                    <a:pt x="1076" y="538"/>
                  </a:lnTo>
                  <a:lnTo>
                    <a:pt x="1075" y="567"/>
                  </a:lnTo>
                  <a:lnTo>
                    <a:pt x="1073" y="594"/>
                  </a:lnTo>
                  <a:lnTo>
                    <a:pt x="1070" y="621"/>
                  </a:lnTo>
                  <a:lnTo>
                    <a:pt x="1065" y="647"/>
                  </a:lnTo>
                  <a:lnTo>
                    <a:pt x="1059" y="674"/>
                  </a:lnTo>
                  <a:lnTo>
                    <a:pt x="1052" y="699"/>
                  </a:lnTo>
                  <a:lnTo>
                    <a:pt x="1043" y="724"/>
                  </a:lnTo>
                  <a:lnTo>
                    <a:pt x="1034" y="748"/>
                  </a:lnTo>
                  <a:lnTo>
                    <a:pt x="1023" y="772"/>
                  </a:lnTo>
                  <a:lnTo>
                    <a:pt x="1011" y="795"/>
                  </a:lnTo>
                  <a:lnTo>
                    <a:pt x="999" y="818"/>
                  </a:lnTo>
                  <a:lnTo>
                    <a:pt x="984" y="839"/>
                  </a:lnTo>
                  <a:lnTo>
                    <a:pt x="969" y="860"/>
                  </a:lnTo>
                  <a:lnTo>
                    <a:pt x="953" y="881"/>
                  </a:lnTo>
                  <a:lnTo>
                    <a:pt x="936" y="901"/>
                  </a:lnTo>
                  <a:lnTo>
                    <a:pt x="919" y="919"/>
                  </a:lnTo>
                  <a:lnTo>
                    <a:pt x="900" y="937"/>
                  </a:lnTo>
                  <a:lnTo>
                    <a:pt x="880" y="954"/>
                  </a:lnTo>
                  <a:lnTo>
                    <a:pt x="860" y="971"/>
                  </a:lnTo>
                  <a:lnTo>
                    <a:pt x="839" y="985"/>
                  </a:lnTo>
                  <a:lnTo>
                    <a:pt x="817" y="999"/>
                  </a:lnTo>
                  <a:lnTo>
                    <a:pt x="795" y="1012"/>
                  </a:lnTo>
                  <a:lnTo>
                    <a:pt x="771" y="1024"/>
                  </a:lnTo>
                  <a:lnTo>
                    <a:pt x="747" y="1035"/>
                  </a:lnTo>
                  <a:lnTo>
                    <a:pt x="723" y="1044"/>
                  </a:lnTo>
                  <a:lnTo>
                    <a:pt x="698" y="1053"/>
                  </a:lnTo>
                  <a:lnTo>
                    <a:pt x="672" y="1060"/>
                  </a:lnTo>
                  <a:lnTo>
                    <a:pt x="646" y="1067"/>
                  </a:lnTo>
                  <a:lnTo>
                    <a:pt x="620" y="1071"/>
                  </a:lnTo>
                  <a:lnTo>
                    <a:pt x="593" y="1075"/>
                  </a:lnTo>
                  <a:lnTo>
                    <a:pt x="565" y="1077"/>
                  </a:lnTo>
                  <a:lnTo>
                    <a:pt x="538" y="1078"/>
                  </a:lnTo>
                  <a:lnTo>
                    <a:pt x="538" y="1078"/>
                  </a:lnTo>
                  <a:close/>
                  <a:moveTo>
                    <a:pt x="538" y="57"/>
                  </a:moveTo>
                  <a:lnTo>
                    <a:pt x="538" y="57"/>
                  </a:lnTo>
                  <a:lnTo>
                    <a:pt x="513" y="58"/>
                  </a:lnTo>
                  <a:lnTo>
                    <a:pt x="488" y="60"/>
                  </a:lnTo>
                  <a:lnTo>
                    <a:pt x="464" y="63"/>
                  </a:lnTo>
                  <a:lnTo>
                    <a:pt x="441" y="67"/>
                  </a:lnTo>
                  <a:lnTo>
                    <a:pt x="418" y="72"/>
                  </a:lnTo>
                  <a:lnTo>
                    <a:pt x="395" y="79"/>
                  </a:lnTo>
                  <a:lnTo>
                    <a:pt x="372" y="86"/>
                  </a:lnTo>
                  <a:lnTo>
                    <a:pt x="350" y="95"/>
                  </a:lnTo>
                  <a:lnTo>
                    <a:pt x="329" y="105"/>
                  </a:lnTo>
                  <a:lnTo>
                    <a:pt x="309" y="115"/>
                  </a:lnTo>
                  <a:lnTo>
                    <a:pt x="288" y="127"/>
                  </a:lnTo>
                  <a:lnTo>
                    <a:pt x="268" y="139"/>
                  </a:lnTo>
                  <a:lnTo>
                    <a:pt x="250" y="152"/>
                  </a:lnTo>
                  <a:lnTo>
                    <a:pt x="231" y="168"/>
                  </a:lnTo>
                  <a:lnTo>
                    <a:pt x="214" y="183"/>
                  </a:lnTo>
                  <a:lnTo>
                    <a:pt x="198" y="198"/>
                  </a:lnTo>
                  <a:lnTo>
                    <a:pt x="181" y="215"/>
                  </a:lnTo>
                  <a:lnTo>
                    <a:pt x="166" y="232"/>
                  </a:lnTo>
                  <a:lnTo>
                    <a:pt x="152" y="250"/>
                  </a:lnTo>
                  <a:lnTo>
                    <a:pt x="138" y="270"/>
                  </a:lnTo>
                  <a:lnTo>
                    <a:pt x="126" y="289"/>
                  </a:lnTo>
                  <a:lnTo>
                    <a:pt x="114" y="309"/>
                  </a:lnTo>
                  <a:lnTo>
                    <a:pt x="104" y="330"/>
                  </a:lnTo>
                  <a:lnTo>
                    <a:pt x="94" y="351"/>
                  </a:lnTo>
                  <a:lnTo>
                    <a:pt x="85" y="374"/>
                  </a:lnTo>
                  <a:lnTo>
                    <a:pt x="77" y="396"/>
                  </a:lnTo>
                  <a:lnTo>
                    <a:pt x="71" y="418"/>
                  </a:lnTo>
                  <a:lnTo>
                    <a:pt x="65" y="441"/>
                  </a:lnTo>
                  <a:lnTo>
                    <a:pt x="61" y="466"/>
                  </a:lnTo>
                  <a:lnTo>
                    <a:pt x="58" y="490"/>
                  </a:lnTo>
                  <a:lnTo>
                    <a:pt x="56" y="514"/>
                  </a:lnTo>
                  <a:lnTo>
                    <a:pt x="56" y="538"/>
                  </a:lnTo>
                  <a:lnTo>
                    <a:pt x="56" y="538"/>
                  </a:lnTo>
                  <a:lnTo>
                    <a:pt x="56" y="564"/>
                  </a:lnTo>
                  <a:lnTo>
                    <a:pt x="58" y="588"/>
                  </a:lnTo>
                  <a:lnTo>
                    <a:pt x="61" y="612"/>
                  </a:lnTo>
                  <a:lnTo>
                    <a:pt x="65" y="635"/>
                  </a:lnTo>
                  <a:lnTo>
                    <a:pt x="71" y="659"/>
                  </a:lnTo>
                  <a:lnTo>
                    <a:pt x="77" y="682"/>
                  </a:lnTo>
                  <a:lnTo>
                    <a:pt x="85" y="704"/>
                  </a:lnTo>
                  <a:lnTo>
                    <a:pt x="94" y="726"/>
                  </a:lnTo>
                  <a:lnTo>
                    <a:pt x="104" y="747"/>
                  </a:lnTo>
                  <a:lnTo>
                    <a:pt x="114" y="769"/>
                  </a:lnTo>
                  <a:lnTo>
                    <a:pt x="126" y="789"/>
                  </a:lnTo>
                  <a:lnTo>
                    <a:pt x="138" y="808"/>
                  </a:lnTo>
                  <a:lnTo>
                    <a:pt x="152" y="827"/>
                  </a:lnTo>
                  <a:lnTo>
                    <a:pt x="166" y="845"/>
                  </a:lnTo>
                  <a:lnTo>
                    <a:pt x="181" y="862"/>
                  </a:lnTo>
                  <a:lnTo>
                    <a:pt x="198" y="880"/>
                  </a:lnTo>
                  <a:lnTo>
                    <a:pt x="214" y="895"/>
                  </a:lnTo>
                  <a:lnTo>
                    <a:pt x="231" y="910"/>
                  </a:lnTo>
                  <a:lnTo>
                    <a:pt x="250" y="925"/>
                  </a:lnTo>
                  <a:lnTo>
                    <a:pt x="268" y="938"/>
                  </a:lnTo>
                  <a:lnTo>
                    <a:pt x="288" y="950"/>
                  </a:lnTo>
                  <a:lnTo>
                    <a:pt x="309" y="962"/>
                  </a:lnTo>
                  <a:lnTo>
                    <a:pt x="329" y="973"/>
                  </a:lnTo>
                  <a:lnTo>
                    <a:pt x="350" y="983"/>
                  </a:lnTo>
                  <a:lnTo>
                    <a:pt x="372" y="992"/>
                  </a:lnTo>
                  <a:lnTo>
                    <a:pt x="395" y="999"/>
                  </a:lnTo>
                  <a:lnTo>
                    <a:pt x="418" y="1005"/>
                  </a:lnTo>
                  <a:lnTo>
                    <a:pt x="441" y="1011"/>
                  </a:lnTo>
                  <a:lnTo>
                    <a:pt x="464" y="1015"/>
                  </a:lnTo>
                  <a:lnTo>
                    <a:pt x="488" y="1018"/>
                  </a:lnTo>
                  <a:lnTo>
                    <a:pt x="513" y="1020"/>
                  </a:lnTo>
                  <a:lnTo>
                    <a:pt x="538" y="1021"/>
                  </a:lnTo>
                  <a:lnTo>
                    <a:pt x="538" y="1021"/>
                  </a:lnTo>
                  <a:lnTo>
                    <a:pt x="562" y="1020"/>
                  </a:lnTo>
                  <a:lnTo>
                    <a:pt x="586" y="1018"/>
                  </a:lnTo>
                  <a:lnTo>
                    <a:pt x="611" y="1015"/>
                  </a:lnTo>
                  <a:lnTo>
                    <a:pt x="635" y="1011"/>
                  </a:lnTo>
                  <a:lnTo>
                    <a:pt x="658" y="1005"/>
                  </a:lnTo>
                  <a:lnTo>
                    <a:pt x="680" y="999"/>
                  </a:lnTo>
                  <a:lnTo>
                    <a:pt x="704" y="992"/>
                  </a:lnTo>
                  <a:lnTo>
                    <a:pt x="725" y="983"/>
                  </a:lnTo>
                  <a:lnTo>
                    <a:pt x="746" y="973"/>
                  </a:lnTo>
                  <a:lnTo>
                    <a:pt x="767" y="962"/>
                  </a:lnTo>
                  <a:lnTo>
                    <a:pt x="787" y="950"/>
                  </a:lnTo>
                  <a:lnTo>
                    <a:pt x="807" y="938"/>
                  </a:lnTo>
                  <a:lnTo>
                    <a:pt x="826" y="925"/>
                  </a:lnTo>
                  <a:lnTo>
                    <a:pt x="844" y="910"/>
                  </a:lnTo>
                  <a:lnTo>
                    <a:pt x="861" y="895"/>
                  </a:lnTo>
                  <a:lnTo>
                    <a:pt x="878" y="880"/>
                  </a:lnTo>
                  <a:lnTo>
                    <a:pt x="895" y="862"/>
                  </a:lnTo>
                  <a:lnTo>
                    <a:pt x="910" y="845"/>
                  </a:lnTo>
                  <a:lnTo>
                    <a:pt x="924" y="827"/>
                  </a:lnTo>
                  <a:lnTo>
                    <a:pt x="937" y="808"/>
                  </a:lnTo>
                  <a:lnTo>
                    <a:pt x="950" y="789"/>
                  </a:lnTo>
                  <a:lnTo>
                    <a:pt x="961" y="769"/>
                  </a:lnTo>
                  <a:lnTo>
                    <a:pt x="972" y="747"/>
                  </a:lnTo>
                  <a:lnTo>
                    <a:pt x="981" y="726"/>
                  </a:lnTo>
                  <a:lnTo>
                    <a:pt x="990" y="704"/>
                  </a:lnTo>
                  <a:lnTo>
                    <a:pt x="998" y="682"/>
                  </a:lnTo>
                  <a:lnTo>
                    <a:pt x="1005" y="659"/>
                  </a:lnTo>
                  <a:lnTo>
                    <a:pt x="1010" y="635"/>
                  </a:lnTo>
                  <a:lnTo>
                    <a:pt x="1014" y="612"/>
                  </a:lnTo>
                  <a:lnTo>
                    <a:pt x="1017" y="588"/>
                  </a:lnTo>
                  <a:lnTo>
                    <a:pt x="1019" y="564"/>
                  </a:lnTo>
                  <a:lnTo>
                    <a:pt x="1020" y="538"/>
                  </a:lnTo>
                  <a:lnTo>
                    <a:pt x="1020" y="538"/>
                  </a:lnTo>
                  <a:lnTo>
                    <a:pt x="1019" y="514"/>
                  </a:lnTo>
                  <a:lnTo>
                    <a:pt x="1017" y="490"/>
                  </a:lnTo>
                  <a:lnTo>
                    <a:pt x="1014" y="466"/>
                  </a:lnTo>
                  <a:lnTo>
                    <a:pt x="1010" y="441"/>
                  </a:lnTo>
                  <a:lnTo>
                    <a:pt x="1005" y="418"/>
                  </a:lnTo>
                  <a:lnTo>
                    <a:pt x="998" y="396"/>
                  </a:lnTo>
                  <a:lnTo>
                    <a:pt x="990" y="374"/>
                  </a:lnTo>
                  <a:lnTo>
                    <a:pt x="981" y="351"/>
                  </a:lnTo>
                  <a:lnTo>
                    <a:pt x="972" y="330"/>
                  </a:lnTo>
                  <a:lnTo>
                    <a:pt x="961" y="309"/>
                  </a:lnTo>
                  <a:lnTo>
                    <a:pt x="950" y="289"/>
                  </a:lnTo>
                  <a:lnTo>
                    <a:pt x="937" y="270"/>
                  </a:lnTo>
                  <a:lnTo>
                    <a:pt x="924" y="250"/>
                  </a:lnTo>
                  <a:lnTo>
                    <a:pt x="910" y="232"/>
                  </a:lnTo>
                  <a:lnTo>
                    <a:pt x="895" y="215"/>
                  </a:lnTo>
                  <a:lnTo>
                    <a:pt x="878" y="198"/>
                  </a:lnTo>
                  <a:lnTo>
                    <a:pt x="861" y="183"/>
                  </a:lnTo>
                  <a:lnTo>
                    <a:pt x="844" y="168"/>
                  </a:lnTo>
                  <a:lnTo>
                    <a:pt x="826" y="152"/>
                  </a:lnTo>
                  <a:lnTo>
                    <a:pt x="807" y="139"/>
                  </a:lnTo>
                  <a:lnTo>
                    <a:pt x="787" y="127"/>
                  </a:lnTo>
                  <a:lnTo>
                    <a:pt x="767" y="115"/>
                  </a:lnTo>
                  <a:lnTo>
                    <a:pt x="746" y="105"/>
                  </a:lnTo>
                  <a:lnTo>
                    <a:pt x="725" y="95"/>
                  </a:lnTo>
                  <a:lnTo>
                    <a:pt x="704" y="86"/>
                  </a:lnTo>
                  <a:lnTo>
                    <a:pt x="680" y="79"/>
                  </a:lnTo>
                  <a:lnTo>
                    <a:pt x="658" y="72"/>
                  </a:lnTo>
                  <a:lnTo>
                    <a:pt x="635" y="67"/>
                  </a:lnTo>
                  <a:lnTo>
                    <a:pt x="611" y="63"/>
                  </a:lnTo>
                  <a:lnTo>
                    <a:pt x="586" y="60"/>
                  </a:lnTo>
                  <a:lnTo>
                    <a:pt x="562" y="58"/>
                  </a:lnTo>
                  <a:lnTo>
                    <a:pt x="538" y="57"/>
                  </a:lnTo>
                  <a:lnTo>
                    <a:pt x="53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94">
              <a:extLst>
                <a:ext uri="{FF2B5EF4-FFF2-40B4-BE49-F238E27FC236}">
                  <a16:creationId xmlns:a16="http://schemas.microsoft.com/office/drawing/2014/main" id="{F57925E7-BCB7-A3B2-61B9-8619A56A90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6238" y="796925"/>
              <a:ext cx="149225" cy="142875"/>
            </a:xfrm>
            <a:custGeom>
              <a:avLst/>
              <a:gdLst>
                <a:gd name="T0" fmla="*/ 446 w 567"/>
                <a:gd name="T1" fmla="*/ 537 h 538"/>
                <a:gd name="T2" fmla="*/ 128 w 567"/>
                <a:gd name="T3" fmla="*/ 534 h 538"/>
                <a:gd name="T4" fmla="*/ 120 w 567"/>
                <a:gd name="T5" fmla="*/ 537 h 538"/>
                <a:gd name="T6" fmla="*/ 108 w 567"/>
                <a:gd name="T7" fmla="*/ 538 h 538"/>
                <a:gd name="T8" fmla="*/ 96 w 567"/>
                <a:gd name="T9" fmla="*/ 532 h 538"/>
                <a:gd name="T10" fmla="*/ 91 w 567"/>
                <a:gd name="T11" fmla="*/ 526 h 538"/>
                <a:gd name="T12" fmla="*/ 86 w 567"/>
                <a:gd name="T13" fmla="*/ 515 h 538"/>
                <a:gd name="T14" fmla="*/ 86 w 567"/>
                <a:gd name="T15" fmla="*/ 501 h 538"/>
                <a:gd name="T16" fmla="*/ 11 w 567"/>
                <a:gd name="T17" fmla="*/ 220 h 538"/>
                <a:gd name="T18" fmla="*/ 3 w 567"/>
                <a:gd name="T19" fmla="*/ 210 h 538"/>
                <a:gd name="T20" fmla="*/ 0 w 567"/>
                <a:gd name="T21" fmla="*/ 197 h 538"/>
                <a:gd name="T22" fmla="*/ 2 w 567"/>
                <a:gd name="T23" fmla="*/ 188 h 538"/>
                <a:gd name="T24" fmla="*/ 9 w 567"/>
                <a:gd name="T25" fmla="*/ 177 h 538"/>
                <a:gd name="T26" fmla="*/ 20 w 567"/>
                <a:gd name="T27" fmla="*/ 171 h 538"/>
                <a:gd name="T28" fmla="*/ 181 w 567"/>
                <a:gd name="T29" fmla="*/ 169 h 538"/>
                <a:gd name="T30" fmla="*/ 261 w 567"/>
                <a:gd name="T31" fmla="*/ 12 h 538"/>
                <a:gd name="T32" fmla="*/ 276 w 567"/>
                <a:gd name="T33" fmla="*/ 1 h 538"/>
                <a:gd name="T34" fmla="*/ 298 w 567"/>
                <a:gd name="T35" fmla="*/ 5 h 538"/>
                <a:gd name="T36" fmla="*/ 309 w 567"/>
                <a:gd name="T37" fmla="*/ 15 h 538"/>
                <a:gd name="T38" fmla="*/ 539 w 567"/>
                <a:gd name="T39" fmla="*/ 169 h 538"/>
                <a:gd name="T40" fmla="*/ 552 w 567"/>
                <a:gd name="T41" fmla="*/ 172 h 538"/>
                <a:gd name="T42" fmla="*/ 562 w 567"/>
                <a:gd name="T43" fmla="*/ 180 h 538"/>
                <a:gd name="T44" fmla="*/ 566 w 567"/>
                <a:gd name="T45" fmla="*/ 188 h 538"/>
                <a:gd name="T46" fmla="*/ 567 w 567"/>
                <a:gd name="T47" fmla="*/ 201 h 538"/>
                <a:gd name="T48" fmla="*/ 563 w 567"/>
                <a:gd name="T49" fmla="*/ 214 h 538"/>
                <a:gd name="T50" fmla="*/ 429 w 567"/>
                <a:gd name="T51" fmla="*/ 322 h 538"/>
                <a:gd name="T52" fmla="*/ 482 w 567"/>
                <a:gd name="T53" fmla="*/ 505 h 538"/>
                <a:gd name="T54" fmla="*/ 481 w 567"/>
                <a:gd name="T55" fmla="*/ 519 h 538"/>
                <a:gd name="T56" fmla="*/ 474 w 567"/>
                <a:gd name="T57" fmla="*/ 530 h 538"/>
                <a:gd name="T58" fmla="*/ 467 w 567"/>
                <a:gd name="T59" fmla="*/ 535 h 538"/>
                <a:gd name="T60" fmla="*/ 454 w 567"/>
                <a:gd name="T61" fmla="*/ 538 h 538"/>
                <a:gd name="T62" fmla="*/ 284 w 567"/>
                <a:gd name="T63" fmla="*/ 375 h 538"/>
                <a:gd name="T64" fmla="*/ 406 w 567"/>
                <a:gd name="T65" fmla="*/ 446 h 538"/>
                <a:gd name="T66" fmla="*/ 369 w 567"/>
                <a:gd name="T67" fmla="*/ 315 h 538"/>
                <a:gd name="T68" fmla="*/ 374 w 567"/>
                <a:gd name="T69" fmla="*/ 295 h 538"/>
                <a:gd name="T70" fmla="*/ 458 w 567"/>
                <a:gd name="T71" fmla="*/ 226 h 538"/>
                <a:gd name="T72" fmla="*/ 361 w 567"/>
                <a:gd name="T73" fmla="*/ 225 h 538"/>
                <a:gd name="T74" fmla="*/ 344 w 567"/>
                <a:gd name="T75" fmla="*/ 211 h 538"/>
                <a:gd name="T76" fmla="*/ 224 w 567"/>
                <a:gd name="T77" fmla="*/ 211 h 538"/>
                <a:gd name="T78" fmla="*/ 206 w 567"/>
                <a:gd name="T79" fmla="*/ 225 h 538"/>
                <a:gd name="T80" fmla="*/ 188 w 567"/>
                <a:gd name="T81" fmla="*/ 289 h 538"/>
                <a:gd name="T82" fmla="*/ 194 w 567"/>
                <a:gd name="T83" fmla="*/ 295 h 538"/>
                <a:gd name="T84" fmla="*/ 198 w 567"/>
                <a:gd name="T85" fmla="*/ 315 h 538"/>
                <a:gd name="T86" fmla="*/ 269 w 567"/>
                <a:gd name="T87" fmla="*/ 379 h 538"/>
                <a:gd name="T88" fmla="*/ 284 w 567"/>
                <a:gd name="T89" fmla="*/ 375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7" h="538">
                  <a:moveTo>
                    <a:pt x="454" y="538"/>
                  </a:moveTo>
                  <a:lnTo>
                    <a:pt x="454" y="538"/>
                  </a:lnTo>
                  <a:lnTo>
                    <a:pt x="446" y="537"/>
                  </a:lnTo>
                  <a:lnTo>
                    <a:pt x="439" y="534"/>
                  </a:lnTo>
                  <a:lnTo>
                    <a:pt x="284" y="437"/>
                  </a:lnTo>
                  <a:lnTo>
                    <a:pt x="128" y="534"/>
                  </a:lnTo>
                  <a:lnTo>
                    <a:pt x="128" y="534"/>
                  </a:lnTo>
                  <a:lnTo>
                    <a:pt x="124" y="536"/>
                  </a:lnTo>
                  <a:lnTo>
                    <a:pt x="120" y="537"/>
                  </a:lnTo>
                  <a:lnTo>
                    <a:pt x="116" y="538"/>
                  </a:lnTo>
                  <a:lnTo>
                    <a:pt x="112" y="538"/>
                  </a:lnTo>
                  <a:lnTo>
                    <a:pt x="108" y="538"/>
                  </a:lnTo>
                  <a:lnTo>
                    <a:pt x="104" y="536"/>
                  </a:lnTo>
                  <a:lnTo>
                    <a:pt x="100" y="535"/>
                  </a:lnTo>
                  <a:lnTo>
                    <a:pt x="96" y="532"/>
                  </a:lnTo>
                  <a:lnTo>
                    <a:pt x="96" y="532"/>
                  </a:lnTo>
                  <a:lnTo>
                    <a:pt x="93" y="530"/>
                  </a:lnTo>
                  <a:lnTo>
                    <a:pt x="91" y="526"/>
                  </a:lnTo>
                  <a:lnTo>
                    <a:pt x="88" y="523"/>
                  </a:lnTo>
                  <a:lnTo>
                    <a:pt x="87" y="519"/>
                  </a:lnTo>
                  <a:lnTo>
                    <a:pt x="86" y="515"/>
                  </a:lnTo>
                  <a:lnTo>
                    <a:pt x="85" y="511"/>
                  </a:lnTo>
                  <a:lnTo>
                    <a:pt x="86" y="505"/>
                  </a:lnTo>
                  <a:lnTo>
                    <a:pt x="86" y="501"/>
                  </a:lnTo>
                  <a:lnTo>
                    <a:pt x="138" y="322"/>
                  </a:lnTo>
                  <a:lnTo>
                    <a:pt x="11" y="220"/>
                  </a:lnTo>
                  <a:lnTo>
                    <a:pt x="11" y="220"/>
                  </a:lnTo>
                  <a:lnTo>
                    <a:pt x="7" y="217"/>
                  </a:lnTo>
                  <a:lnTo>
                    <a:pt x="5" y="214"/>
                  </a:lnTo>
                  <a:lnTo>
                    <a:pt x="3" y="210"/>
                  </a:lnTo>
                  <a:lnTo>
                    <a:pt x="1" y="206"/>
                  </a:lnTo>
                  <a:lnTo>
                    <a:pt x="0" y="201"/>
                  </a:lnTo>
                  <a:lnTo>
                    <a:pt x="0" y="197"/>
                  </a:lnTo>
                  <a:lnTo>
                    <a:pt x="1" y="192"/>
                  </a:lnTo>
                  <a:lnTo>
                    <a:pt x="2" y="188"/>
                  </a:lnTo>
                  <a:lnTo>
                    <a:pt x="2" y="188"/>
                  </a:lnTo>
                  <a:lnTo>
                    <a:pt x="3" y="184"/>
                  </a:lnTo>
                  <a:lnTo>
                    <a:pt x="6" y="180"/>
                  </a:lnTo>
                  <a:lnTo>
                    <a:pt x="9" y="177"/>
                  </a:lnTo>
                  <a:lnTo>
                    <a:pt x="12" y="174"/>
                  </a:lnTo>
                  <a:lnTo>
                    <a:pt x="16" y="172"/>
                  </a:lnTo>
                  <a:lnTo>
                    <a:pt x="20" y="171"/>
                  </a:lnTo>
                  <a:lnTo>
                    <a:pt x="24" y="170"/>
                  </a:lnTo>
                  <a:lnTo>
                    <a:pt x="28" y="169"/>
                  </a:lnTo>
                  <a:lnTo>
                    <a:pt x="181" y="169"/>
                  </a:lnTo>
                  <a:lnTo>
                    <a:pt x="259" y="15"/>
                  </a:lnTo>
                  <a:lnTo>
                    <a:pt x="259" y="15"/>
                  </a:lnTo>
                  <a:lnTo>
                    <a:pt x="261" y="12"/>
                  </a:lnTo>
                  <a:lnTo>
                    <a:pt x="263" y="9"/>
                  </a:lnTo>
                  <a:lnTo>
                    <a:pt x="269" y="5"/>
                  </a:lnTo>
                  <a:lnTo>
                    <a:pt x="276" y="1"/>
                  </a:lnTo>
                  <a:lnTo>
                    <a:pt x="284" y="0"/>
                  </a:lnTo>
                  <a:lnTo>
                    <a:pt x="291" y="1"/>
                  </a:lnTo>
                  <a:lnTo>
                    <a:pt x="298" y="5"/>
                  </a:lnTo>
                  <a:lnTo>
                    <a:pt x="304" y="9"/>
                  </a:lnTo>
                  <a:lnTo>
                    <a:pt x="307" y="12"/>
                  </a:lnTo>
                  <a:lnTo>
                    <a:pt x="309" y="15"/>
                  </a:lnTo>
                  <a:lnTo>
                    <a:pt x="386" y="169"/>
                  </a:lnTo>
                  <a:lnTo>
                    <a:pt x="539" y="169"/>
                  </a:lnTo>
                  <a:lnTo>
                    <a:pt x="539" y="169"/>
                  </a:lnTo>
                  <a:lnTo>
                    <a:pt x="544" y="170"/>
                  </a:lnTo>
                  <a:lnTo>
                    <a:pt x="548" y="171"/>
                  </a:lnTo>
                  <a:lnTo>
                    <a:pt x="552" y="172"/>
                  </a:lnTo>
                  <a:lnTo>
                    <a:pt x="555" y="174"/>
                  </a:lnTo>
                  <a:lnTo>
                    <a:pt x="559" y="177"/>
                  </a:lnTo>
                  <a:lnTo>
                    <a:pt x="562" y="180"/>
                  </a:lnTo>
                  <a:lnTo>
                    <a:pt x="564" y="184"/>
                  </a:lnTo>
                  <a:lnTo>
                    <a:pt x="566" y="188"/>
                  </a:lnTo>
                  <a:lnTo>
                    <a:pt x="566" y="188"/>
                  </a:lnTo>
                  <a:lnTo>
                    <a:pt x="567" y="192"/>
                  </a:lnTo>
                  <a:lnTo>
                    <a:pt x="567" y="197"/>
                  </a:lnTo>
                  <a:lnTo>
                    <a:pt x="567" y="201"/>
                  </a:lnTo>
                  <a:lnTo>
                    <a:pt x="566" y="206"/>
                  </a:lnTo>
                  <a:lnTo>
                    <a:pt x="565" y="210"/>
                  </a:lnTo>
                  <a:lnTo>
                    <a:pt x="563" y="214"/>
                  </a:lnTo>
                  <a:lnTo>
                    <a:pt x="560" y="217"/>
                  </a:lnTo>
                  <a:lnTo>
                    <a:pt x="557" y="220"/>
                  </a:lnTo>
                  <a:lnTo>
                    <a:pt x="429" y="322"/>
                  </a:lnTo>
                  <a:lnTo>
                    <a:pt x="481" y="501"/>
                  </a:lnTo>
                  <a:lnTo>
                    <a:pt x="481" y="501"/>
                  </a:lnTo>
                  <a:lnTo>
                    <a:pt x="482" y="505"/>
                  </a:lnTo>
                  <a:lnTo>
                    <a:pt x="482" y="511"/>
                  </a:lnTo>
                  <a:lnTo>
                    <a:pt x="482" y="515"/>
                  </a:lnTo>
                  <a:lnTo>
                    <a:pt x="481" y="519"/>
                  </a:lnTo>
                  <a:lnTo>
                    <a:pt x="479" y="523"/>
                  </a:lnTo>
                  <a:lnTo>
                    <a:pt x="477" y="526"/>
                  </a:lnTo>
                  <a:lnTo>
                    <a:pt x="474" y="530"/>
                  </a:lnTo>
                  <a:lnTo>
                    <a:pt x="471" y="532"/>
                  </a:lnTo>
                  <a:lnTo>
                    <a:pt x="471" y="532"/>
                  </a:lnTo>
                  <a:lnTo>
                    <a:pt x="467" y="535"/>
                  </a:lnTo>
                  <a:lnTo>
                    <a:pt x="463" y="537"/>
                  </a:lnTo>
                  <a:lnTo>
                    <a:pt x="459" y="538"/>
                  </a:lnTo>
                  <a:lnTo>
                    <a:pt x="454" y="538"/>
                  </a:lnTo>
                  <a:lnTo>
                    <a:pt x="454" y="538"/>
                  </a:lnTo>
                  <a:close/>
                  <a:moveTo>
                    <a:pt x="284" y="375"/>
                  </a:moveTo>
                  <a:lnTo>
                    <a:pt x="284" y="375"/>
                  </a:lnTo>
                  <a:lnTo>
                    <a:pt x="291" y="376"/>
                  </a:lnTo>
                  <a:lnTo>
                    <a:pt x="299" y="379"/>
                  </a:lnTo>
                  <a:lnTo>
                    <a:pt x="406" y="446"/>
                  </a:lnTo>
                  <a:lnTo>
                    <a:pt x="370" y="319"/>
                  </a:lnTo>
                  <a:lnTo>
                    <a:pt x="370" y="319"/>
                  </a:lnTo>
                  <a:lnTo>
                    <a:pt x="369" y="315"/>
                  </a:lnTo>
                  <a:lnTo>
                    <a:pt x="369" y="311"/>
                  </a:lnTo>
                  <a:lnTo>
                    <a:pt x="370" y="302"/>
                  </a:lnTo>
                  <a:lnTo>
                    <a:pt x="374" y="295"/>
                  </a:lnTo>
                  <a:lnTo>
                    <a:pt x="376" y="291"/>
                  </a:lnTo>
                  <a:lnTo>
                    <a:pt x="379" y="289"/>
                  </a:lnTo>
                  <a:lnTo>
                    <a:pt x="458" y="226"/>
                  </a:lnTo>
                  <a:lnTo>
                    <a:pt x="369" y="226"/>
                  </a:lnTo>
                  <a:lnTo>
                    <a:pt x="369" y="226"/>
                  </a:lnTo>
                  <a:lnTo>
                    <a:pt x="361" y="225"/>
                  </a:lnTo>
                  <a:lnTo>
                    <a:pt x="354" y="222"/>
                  </a:lnTo>
                  <a:lnTo>
                    <a:pt x="348" y="217"/>
                  </a:lnTo>
                  <a:lnTo>
                    <a:pt x="344" y="211"/>
                  </a:lnTo>
                  <a:lnTo>
                    <a:pt x="284" y="91"/>
                  </a:lnTo>
                  <a:lnTo>
                    <a:pt x="224" y="211"/>
                  </a:lnTo>
                  <a:lnTo>
                    <a:pt x="224" y="211"/>
                  </a:lnTo>
                  <a:lnTo>
                    <a:pt x="219" y="217"/>
                  </a:lnTo>
                  <a:lnTo>
                    <a:pt x="213" y="222"/>
                  </a:lnTo>
                  <a:lnTo>
                    <a:pt x="206" y="225"/>
                  </a:lnTo>
                  <a:lnTo>
                    <a:pt x="199" y="226"/>
                  </a:lnTo>
                  <a:lnTo>
                    <a:pt x="109" y="226"/>
                  </a:lnTo>
                  <a:lnTo>
                    <a:pt x="188" y="289"/>
                  </a:lnTo>
                  <a:lnTo>
                    <a:pt x="188" y="289"/>
                  </a:lnTo>
                  <a:lnTo>
                    <a:pt x="191" y="291"/>
                  </a:lnTo>
                  <a:lnTo>
                    <a:pt x="194" y="295"/>
                  </a:lnTo>
                  <a:lnTo>
                    <a:pt x="197" y="302"/>
                  </a:lnTo>
                  <a:lnTo>
                    <a:pt x="199" y="311"/>
                  </a:lnTo>
                  <a:lnTo>
                    <a:pt x="198" y="315"/>
                  </a:lnTo>
                  <a:lnTo>
                    <a:pt x="197" y="319"/>
                  </a:lnTo>
                  <a:lnTo>
                    <a:pt x="161" y="446"/>
                  </a:lnTo>
                  <a:lnTo>
                    <a:pt x="269" y="379"/>
                  </a:lnTo>
                  <a:lnTo>
                    <a:pt x="269" y="379"/>
                  </a:lnTo>
                  <a:lnTo>
                    <a:pt x="276" y="376"/>
                  </a:lnTo>
                  <a:lnTo>
                    <a:pt x="284" y="375"/>
                  </a:lnTo>
                  <a:lnTo>
                    <a:pt x="284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830274E-18E5-5BBF-95FF-1ED4E0C47335}"/>
              </a:ext>
            </a:extLst>
          </p:cNvPr>
          <p:cNvSpPr txBox="1"/>
          <p:nvPr/>
        </p:nvSpPr>
        <p:spPr>
          <a:xfrm>
            <a:off x="1428254" y="2478382"/>
            <a:ext cx="17080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02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untrie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ar-SA" sz="14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C1E29303-CDB8-1EFA-6C34-56C64F82E6FA}"/>
              </a:ext>
            </a:extLst>
          </p:cNvPr>
          <p:cNvSpPr/>
          <p:nvPr/>
        </p:nvSpPr>
        <p:spPr>
          <a:xfrm rot="16200000" flipV="1">
            <a:off x="845202" y="2423791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7BF5340-C86F-162B-39C5-9FE196051044}"/>
              </a:ext>
            </a:extLst>
          </p:cNvPr>
          <p:cNvSpPr/>
          <p:nvPr/>
        </p:nvSpPr>
        <p:spPr>
          <a:xfrm>
            <a:off x="894229" y="2492130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phic 16" descr="Earth Globe - Asia with solid fill">
            <a:extLst>
              <a:ext uri="{FF2B5EF4-FFF2-40B4-BE49-F238E27FC236}">
                <a16:creationId xmlns:a16="http://schemas.microsoft.com/office/drawing/2014/main" id="{DA87540A-B4B1-9442-D278-7477C3D6888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01392" y="2508365"/>
            <a:ext cx="422676" cy="42267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2618E83-28CE-F3B4-3465-C9856A377E54}"/>
              </a:ext>
            </a:extLst>
          </p:cNvPr>
          <p:cNvSpPr txBox="1"/>
          <p:nvPr/>
        </p:nvSpPr>
        <p:spPr>
          <a:xfrm>
            <a:off x="1447975" y="3534593"/>
            <a:ext cx="18067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,007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endParaRPr kumimoji="0" lang="ar-SA" sz="1400" b="1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F651471E-6A23-E672-4EED-DDAE593AECA3}"/>
              </a:ext>
            </a:extLst>
          </p:cNvPr>
          <p:cNvSpPr/>
          <p:nvPr/>
        </p:nvSpPr>
        <p:spPr>
          <a:xfrm rot="16200000" flipV="1">
            <a:off x="843378" y="3503018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DCF0CC3-7F58-9278-9319-41B93CF47656}"/>
              </a:ext>
            </a:extLst>
          </p:cNvPr>
          <p:cNvSpPr/>
          <p:nvPr/>
        </p:nvSpPr>
        <p:spPr>
          <a:xfrm>
            <a:off x="892405" y="3571357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9E973FA-469D-20AB-248F-0082AA0FD204}"/>
              </a:ext>
            </a:extLst>
          </p:cNvPr>
          <p:cNvSpPr txBox="1"/>
          <p:nvPr/>
        </p:nvSpPr>
        <p:spPr>
          <a:xfrm>
            <a:off x="1361513" y="4580431"/>
            <a:ext cx="1893178" cy="684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0.5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verage verification days</a:t>
            </a:r>
            <a:endParaRPr kumimoji="0" lang="ar-SA" sz="10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BF83EA85-2BDF-2444-9AA5-CBA95CA8B47C}"/>
              </a:ext>
            </a:extLst>
          </p:cNvPr>
          <p:cNvSpPr/>
          <p:nvPr/>
        </p:nvSpPr>
        <p:spPr>
          <a:xfrm rot="16200000" flipV="1">
            <a:off x="837629" y="4605924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38726EA-1888-DFEA-7EDD-CA70E0579F78}"/>
              </a:ext>
            </a:extLst>
          </p:cNvPr>
          <p:cNvSpPr/>
          <p:nvPr/>
        </p:nvSpPr>
        <p:spPr>
          <a:xfrm>
            <a:off x="886656" y="4674263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phic 23" descr="Stopwatch 50% outline">
            <a:extLst>
              <a:ext uri="{FF2B5EF4-FFF2-40B4-BE49-F238E27FC236}">
                <a16:creationId xmlns:a16="http://schemas.microsoft.com/office/drawing/2014/main" id="{00E3DE39-5A8E-FC6F-7E17-61E84D516EA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17443" y="4692289"/>
            <a:ext cx="390318" cy="390318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5E8833ED-546B-B126-A9D5-A800AC2864C7}"/>
              </a:ext>
            </a:extLst>
          </p:cNvPr>
          <p:cNvGrpSpPr/>
          <p:nvPr/>
        </p:nvGrpSpPr>
        <p:grpSpPr>
          <a:xfrm>
            <a:off x="951690" y="3623418"/>
            <a:ext cx="292607" cy="303484"/>
            <a:chOff x="10216392" y="8410196"/>
            <a:chExt cx="450219" cy="365609"/>
          </a:xfrm>
        </p:grpSpPr>
        <p:sp>
          <p:nvSpPr>
            <p:cNvPr id="26" name="Freeform 425">
              <a:extLst>
                <a:ext uri="{FF2B5EF4-FFF2-40B4-BE49-F238E27FC236}">
                  <a16:creationId xmlns:a16="http://schemas.microsoft.com/office/drawing/2014/main" id="{6AFA78C5-94C3-787F-F8CE-3D5B3AD90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9154" y="8495562"/>
              <a:ext cx="47876" cy="274207"/>
            </a:xfrm>
            <a:custGeom>
              <a:avLst/>
              <a:gdLst>
                <a:gd name="T0" fmla="*/ 65 w 122"/>
                <a:gd name="T1" fmla="*/ 748 h 748"/>
                <a:gd name="T2" fmla="*/ 65 w 122"/>
                <a:gd name="T3" fmla="*/ 748 h 748"/>
                <a:gd name="T4" fmla="*/ 0 w 122"/>
                <a:gd name="T5" fmla="*/ 683 h 748"/>
                <a:gd name="T6" fmla="*/ 0 w 122"/>
                <a:gd name="T7" fmla="*/ 0 h 748"/>
                <a:gd name="T8" fmla="*/ 122 w 122"/>
                <a:gd name="T9" fmla="*/ 0 h 748"/>
                <a:gd name="T10" fmla="*/ 122 w 122"/>
                <a:gd name="T11" fmla="*/ 691 h 748"/>
                <a:gd name="T12" fmla="*/ 65 w 122"/>
                <a:gd name="T13" fmla="*/ 748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748">
                  <a:moveTo>
                    <a:pt x="65" y="748"/>
                  </a:moveTo>
                  <a:lnTo>
                    <a:pt x="65" y="748"/>
                  </a:lnTo>
                  <a:cubicBezTo>
                    <a:pt x="29" y="748"/>
                    <a:pt x="0" y="719"/>
                    <a:pt x="0" y="68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691"/>
                  </a:lnTo>
                  <a:cubicBezTo>
                    <a:pt x="122" y="722"/>
                    <a:pt x="96" y="748"/>
                    <a:pt x="65" y="748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7" name="Freeform 426">
              <a:extLst>
                <a:ext uri="{FF2B5EF4-FFF2-40B4-BE49-F238E27FC236}">
                  <a16:creationId xmlns:a16="http://schemas.microsoft.com/office/drawing/2014/main" id="{C95E169E-4C46-6C23-4453-B54E7DBC4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937" y="8412783"/>
              <a:ext cx="326846" cy="89678"/>
            </a:xfrm>
            <a:custGeom>
              <a:avLst/>
              <a:gdLst>
                <a:gd name="T0" fmla="*/ 837 w 837"/>
                <a:gd name="T1" fmla="*/ 243 h 243"/>
                <a:gd name="T2" fmla="*/ 300 w 837"/>
                <a:gd name="T3" fmla="*/ 243 h 243"/>
                <a:gd name="T4" fmla="*/ 230 w 837"/>
                <a:gd name="T5" fmla="*/ 146 h 243"/>
                <a:gd name="T6" fmla="*/ 0 w 837"/>
                <a:gd name="T7" fmla="*/ 146 h 243"/>
                <a:gd name="T8" fmla="*/ 0 w 837"/>
                <a:gd name="T9" fmla="*/ 0 h 243"/>
                <a:gd name="T10" fmla="*/ 837 w 837"/>
                <a:gd name="T11" fmla="*/ 0 h 243"/>
                <a:gd name="T12" fmla="*/ 837 w 837"/>
                <a:gd name="T13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243">
                  <a:moveTo>
                    <a:pt x="837" y="243"/>
                  </a:moveTo>
                  <a:lnTo>
                    <a:pt x="300" y="243"/>
                  </a:lnTo>
                  <a:cubicBezTo>
                    <a:pt x="277" y="210"/>
                    <a:pt x="253" y="178"/>
                    <a:pt x="230" y="146"/>
                  </a:cubicBezTo>
                  <a:cubicBezTo>
                    <a:pt x="154" y="146"/>
                    <a:pt x="77" y="146"/>
                    <a:pt x="0" y="146"/>
                  </a:cubicBezTo>
                  <a:lnTo>
                    <a:pt x="0" y="0"/>
                  </a:lnTo>
                  <a:lnTo>
                    <a:pt x="837" y="0"/>
                  </a:lnTo>
                  <a:lnTo>
                    <a:pt x="837" y="243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8" name="Freeform 428">
              <a:extLst>
                <a:ext uri="{FF2B5EF4-FFF2-40B4-BE49-F238E27FC236}">
                  <a16:creationId xmlns:a16="http://schemas.microsoft.com/office/drawing/2014/main" id="{179D6CED-E8DF-2BED-4834-00CFD3BC4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29" name="Freeform 429">
              <a:extLst>
                <a:ext uri="{FF2B5EF4-FFF2-40B4-BE49-F238E27FC236}">
                  <a16:creationId xmlns:a16="http://schemas.microsoft.com/office/drawing/2014/main" id="{2482CB0C-95AB-7A97-61CF-BB9F72C1D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3192" y="8661983"/>
              <a:ext cx="242142" cy="113822"/>
            </a:xfrm>
            <a:custGeom>
              <a:avLst/>
              <a:gdLst>
                <a:gd name="T0" fmla="*/ 619 w 619"/>
                <a:gd name="T1" fmla="*/ 310 h 310"/>
                <a:gd name="T2" fmla="*/ 619 w 619"/>
                <a:gd name="T3" fmla="*/ 275 h 310"/>
                <a:gd name="T4" fmla="*/ 592 w 619"/>
                <a:gd name="T5" fmla="*/ 248 h 310"/>
                <a:gd name="T6" fmla="*/ 573 w 619"/>
                <a:gd name="T7" fmla="*/ 248 h 310"/>
                <a:gd name="T8" fmla="*/ 544 w 619"/>
                <a:gd name="T9" fmla="*/ 227 h 310"/>
                <a:gd name="T10" fmla="*/ 533 w 619"/>
                <a:gd name="T11" fmla="*/ 202 h 310"/>
                <a:gd name="T12" fmla="*/ 539 w 619"/>
                <a:gd name="T13" fmla="*/ 169 h 310"/>
                <a:gd name="T14" fmla="*/ 552 w 619"/>
                <a:gd name="T15" fmla="*/ 156 h 310"/>
                <a:gd name="T16" fmla="*/ 554 w 619"/>
                <a:gd name="T17" fmla="*/ 116 h 310"/>
                <a:gd name="T18" fmla="*/ 504 w 619"/>
                <a:gd name="T19" fmla="*/ 66 h 310"/>
                <a:gd name="T20" fmla="*/ 465 w 619"/>
                <a:gd name="T21" fmla="*/ 66 h 310"/>
                <a:gd name="T22" fmla="*/ 452 w 619"/>
                <a:gd name="T23" fmla="*/ 80 h 310"/>
                <a:gd name="T24" fmla="*/ 417 w 619"/>
                <a:gd name="T25" fmla="*/ 86 h 310"/>
                <a:gd name="T26" fmla="*/ 392 w 619"/>
                <a:gd name="T27" fmla="*/ 76 h 310"/>
                <a:gd name="T28" fmla="*/ 372 w 619"/>
                <a:gd name="T29" fmla="*/ 47 h 310"/>
                <a:gd name="T30" fmla="*/ 372 w 619"/>
                <a:gd name="T31" fmla="*/ 28 h 310"/>
                <a:gd name="T32" fmla="*/ 345 w 619"/>
                <a:gd name="T33" fmla="*/ 0 h 310"/>
                <a:gd name="T34" fmla="*/ 275 w 619"/>
                <a:gd name="T35" fmla="*/ 0 h 310"/>
                <a:gd name="T36" fmla="*/ 247 w 619"/>
                <a:gd name="T37" fmla="*/ 28 h 310"/>
                <a:gd name="T38" fmla="*/ 247 w 619"/>
                <a:gd name="T39" fmla="*/ 47 h 310"/>
                <a:gd name="T40" fmla="*/ 227 w 619"/>
                <a:gd name="T41" fmla="*/ 76 h 310"/>
                <a:gd name="T42" fmla="*/ 202 w 619"/>
                <a:gd name="T43" fmla="*/ 86 h 310"/>
                <a:gd name="T44" fmla="*/ 169 w 619"/>
                <a:gd name="T45" fmla="*/ 81 h 310"/>
                <a:gd name="T46" fmla="*/ 156 w 619"/>
                <a:gd name="T47" fmla="*/ 68 h 310"/>
                <a:gd name="T48" fmla="*/ 116 w 619"/>
                <a:gd name="T49" fmla="*/ 66 h 310"/>
                <a:gd name="T50" fmla="*/ 66 w 619"/>
                <a:gd name="T51" fmla="*/ 116 h 310"/>
                <a:gd name="T52" fmla="*/ 66 w 619"/>
                <a:gd name="T53" fmla="*/ 154 h 310"/>
                <a:gd name="T54" fmla="*/ 80 w 619"/>
                <a:gd name="T55" fmla="*/ 168 h 310"/>
                <a:gd name="T56" fmla="*/ 86 w 619"/>
                <a:gd name="T57" fmla="*/ 203 h 310"/>
                <a:gd name="T58" fmla="*/ 76 w 619"/>
                <a:gd name="T59" fmla="*/ 228 h 310"/>
                <a:gd name="T60" fmla="*/ 48 w 619"/>
                <a:gd name="T61" fmla="*/ 248 h 310"/>
                <a:gd name="T62" fmla="*/ 30 w 619"/>
                <a:gd name="T63" fmla="*/ 248 h 310"/>
                <a:gd name="T64" fmla="*/ 0 w 619"/>
                <a:gd name="T65" fmla="*/ 275 h 310"/>
                <a:gd name="T66" fmla="*/ 0 w 619"/>
                <a:gd name="T67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9" h="310">
                  <a:moveTo>
                    <a:pt x="619" y="310"/>
                  </a:moveTo>
                  <a:lnTo>
                    <a:pt x="619" y="275"/>
                  </a:lnTo>
                  <a:cubicBezTo>
                    <a:pt x="619" y="260"/>
                    <a:pt x="607" y="248"/>
                    <a:pt x="592" y="248"/>
                  </a:cubicBezTo>
                  <a:lnTo>
                    <a:pt x="573" y="248"/>
                  </a:lnTo>
                  <a:cubicBezTo>
                    <a:pt x="560" y="248"/>
                    <a:pt x="548" y="240"/>
                    <a:pt x="544" y="227"/>
                  </a:cubicBezTo>
                  <a:cubicBezTo>
                    <a:pt x="541" y="219"/>
                    <a:pt x="537" y="210"/>
                    <a:pt x="533" y="202"/>
                  </a:cubicBezTo>
                  <a:cubicBezTo>
                    <a:pt x="528" y="191"/>
                    <a:pt x="530" y="178"/>
                    <a:pt x="539" y="169"/>
                  </a:cubicBezTo>
                  <a:lnTo>
                    <a:pt x="552" y="156"/>
                  </a:lnTo>
                  <a:cubicBezTo>
                    <a:pt x="564" y="144"/>
                    <a:pt x="564" y="127"/>
                    <a:pt x="554" y="116"/>
                  </a:cubicBezTo>
                  <a:lnTo>
                    <a:pt x="504" y="66"/>
                  </a:lnTo>
                  <a:cubicBezTo>
                    <a:pt x="493" y="56"/>
                    <a:pt x="476" y="56"/>
                    <a:pt x="465" y="66"/>
                  </a:cubicBezTo>
                  <a:lnTo>
                    <a:pt x="452" y="80"/>
                  </a:lnTo>
                  <a:cubicBezTo>
                    <a:pt x="442" y="89"/>
                    <a:pt x="429" y="92"/>
                    <a:pt x="417" y="86"/>
                  </a:cubicBezTo>
                  <a:cubicBezTo>
                    <a:pt x="409" y="82"/>
                    <a:pt x="401" y="79"/>
                    <a:pt x="392" y="76"/>
                  </a:cubicBezTo>
                  <a:cubicBezTo>
                    <a:pt x="380" y="72"/>
                    <a:pt x="372" y="60"/>
                    <a:pt x="372" y="47"/>
                  </a:cubicBezTo>
                  <a:lnTo>
                    <a:pt x="372" y="28"/>
                  </a:lnTo>
                  <a:cubicBezTo>
                    <a:pt x="372" y="13"/>
                    <a:pt x="360" y="0"/>
                    <a:pt x="345" y="0"/>
                  </a:cubicBezTo>
                  <a:lnTo>
                    <a:pt x="275" y="0"/>
                  </a:lnTo>
                  <a:cubicBezTo>
                    <a:pt x="260" y="0"/>
                    <a:pt x="247" y="13"/>
                    <a:pt x="247" y="28"/>
                  </a:cubicBezTo>
                  <a:lnTo>
                    <a:pt x="247" y="47"/>
                  </a:lnTo>
                  <a:cubicBezTo>
                    <a:pt x="247" y="60"/>
                    <a:pt x="239" y="72"/>
                    <a:pt x="227" y="76"/>
                  </a:cubicBezTo>
                  <a:cubicBezTo>
                    <a:pt x="219" y="79"/>
                    <a:pt x="210" y="83"/>
                    <a:pt x="202" y="86"/>
                  </a:cubicBezTo>
                  <a:cubicBezTo>
                    <a:pt x="191" y="92"/>
                    <a:pt x="177" y="89"/>
                    <a:pt x="169" y="81"/>
                  </a:cubicBezTo>
                  <a:lnTo>
                    <a:pt x="156" y="68"/>
                  </a:lnTo>
                  <a:cubicBezTo>
                    <a:pt x="144" y="56"/>
                    <a:pt x="126" y="56"/>
                    <a:pt x="116" y="66"/>
                  </a:cubicBezTo>
                  <a:lnTo>
                    <a:pt x="66" y="116"/>
                  </a:lnTo>
                  <a:cubicBezTo>
                    <a:pt x="55" y="127"/>
                    <a:pt x="55" y="144"/>
                    <a:pt x="66" y="154"/>
                  </a:cubicBezTo>
                  <a:lnTo>
                    <a:pt x="80" y="168"/>
                  </a:lnTo>
                  <a:cubicBezTo>
                    <a:pt x="89" y="177"/>
                    <a:pt x="92" y="191"/>
                    <a:pt x="86" y="203"/>
                  </a:cubicBezTo>
                  <a:cubicBezTo>
                    <a:pt x="82" y="211"/>
                    <a:pt x="79" y="220"/>
                    <a:pt x="76" y="228"/>
                  </a:cubicBezTo>
                  <a:cubicBezTo>
                    <a:pt x="72" y="240"/>
                    <a:pt x="60" y="248"/>
                    <a:pt x="48" y="248"/>
                  </a:cubicBezTo>
                  <a:lnTo>
                    <a:pt x="30" y="248"/>
                  </a:lnTo>
                  <a:cubicBezTo>
                    <a:pt x="12" y="248"/>
                    <a:pt x="0" y="260"/>
                    <a:pt x="0" y="275"/>
                  </a:cubicBezTo>
                  <a:lnTo>
                    <a:pt x="0" y="31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30" name="Freeform 430">
              <a:extLst>
                <a:ext uri="{FF2B5EF4-FFF2-40B4-BE49-F238E27FC236}">
                  <a16:creationId xmlns:a16="http://schemas.microsoft.com/office/drawing/2014/main" id="{2913C32C-3480-33A7-49FF-B4F4435EC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31" name="Freeform 431">
              <a:extLst>
                <a:ext uri="{FF2B5EF4-FFF2-40B4-BE49-F238E27FC236}">
                  <a16:creationId xmlns:a16="http://schemas.microsoft.com/office/drawing/2014/main" id="{8CEEFE60-CB0A-8F8C-8065-E18FC1BAF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6000" y="8535227"/>
              <a:ext cx="120611" cy="227643"/>
            </a:xfrm>
            <a:custGeom>
              <a:avLst/>
              <a:gdLst>
                <a:gd name="T0" fmla="*/ 309 w 309"/>
                <a:gd name="T1" fmla="*/ 0 h 619"/>
                <a:gd name="T2" fmla="*/ 274 w 309"/>
                <a:gd name="T3" fmla="*/ 0 h 619"/>
                <a:gd name="T4" fmla="*/ 247 w 309"/>
                <a:gd name="T5" fmla="*/ 27 h 619"/>
                <a:gd name="T6" fmla="*/ 247 w 309"/>
                <a:gd name="T7" fmla="*/ 47 h 619"/>
                <a:gd name="T8" fmla="*/ 227 w 309"/>
                <a:gd name="T9" fmla="*/ 76 h 619"/>
                <a:gd name="T10" fmla="*/ 201 w 309"/>
                <a:gd name="T11" fmla="*/ 86 h 619"/>
                <a:gd name="T12" fmla="*/ 168 w 309"/>
                <a:gd name="T13" fmla="*/ 80 h 619"/>
                <a:gd name="T14" fmla="*/ 156 w 309"/>
                <a:gd name="T15" fmla="*/ 68 h 619"/>
                <a:gd name="T16" fmla="*/ 115 w 309"/>
                <a:gd name="T17" fmla="*/ 66 h 619"/>
                <a:gd name="T18" fmla="*/ 66 w 309"/>
                <a:gd name="T19" fmla="*/ 116 h 619"/>
                <a:gd name="T20" fmla="*/ 66 w 309"/>
                <a:gd name="T21" fmla="*/ 154 h 619"/>
                <a:gd name="T22" fmla="*/ 79 w 309"/>
                <a:gd name="T23" fmla="*/ 168 h 619"/>
                <a:gd name="T24" fmla="*/ 85 w 309"/>
                <a:gd name="T25" fmla="*/ 203 h 619"/>
                <a:gd name="T26" fmla="*/ 75 w 309"/>
                <a:gd name="T27" fmla="*/ 227 h 619"/>
                <a:gd name="T28" fmla="*/ 46 w 309"/>
                <a:gd name="T29" fmla="*/ 247 h 619"/>
                <a:gd name="T30" fmla="*/ 27 w 309"/>
                <a:gd name="T31" fmla="*/ 247 h 619"/>
                <a:gd name="T32" fmla="*/ 0 w 309"/>
                <a:gd name="T33" fmla="*/ 274 h 619"/>
                <a:gd name="T34" fmla="*/ 0 w 309"/>
                <a:gd name="T35" fmla="*/ 345 h 619"/>
                <a:gd name="T36" fmla="*/ 27 w 309"/>
                <a:gd name="T37" fmla="*/ 372 h 619"/>
                <a:gd name="T38" fmla="*/ 46 w 309"/>
                <a:gd name="T39" fmla="*/ 372 h 619"/>
                <a:gd name="T40" fmla="*/ 75 w 309"/>
                <a:gd name="T41" fmla="*/ 392 h 619"/>
                <a:gd name="T42" fmla="*/ 86 w 309"/>
                <a:gd name="T43" fmla="*/ 418 h 619"/>
                <a:gd name="T44" fmla="*/ 80 w 309"/>
                <a:gd name="T45" fmla="*/ 451 h 619"/>
                <a:gd name="T46" fmla="*/ 67 w 309"/>
                <a:gd name="T47" fmla="*/ 463 h 619"/>
                <a:gd name="T48" fmla="*/ 66 w 309"/>
                <a:gd name="T49" fmla="*/ 504 h 619"/>
                <a:gd name="T50" fmla="*/ 115 w 309"/>
                <a:gd name="T51" fmla="*/ 553 h 619"/>
                <a:gd name="T52" fmla="*/ 154 w 309"/>
                <a:gd name="T53" fmla="*/ 553 h 619"/>
                <a:gd name="T54" fmla="*/ 167 w 309"/>
                <a:gd name="T55" fmla="*/ 540 h 619"/>
                <a:gd name="T56" fmla="*/ 202 w 309"/>
                <a:gd name="T57" fmla="*/ 533 h 619"/>
                <a:gd name="T58" fmla="*/ 228 w 309"/>
                <a:gd name="T59" fmla="*/ 544 h 619"/>
                <a:gd name="T60" fmla="*/ 247 w 309"/>
                <a:gd name="T61" fmla="*/ 572 h 619"/>
                <a:gd name="T62" fmla="*/ 247 w 309"/>
                <a:gd name="T63" fmla="*/ 589 h 619"/>
                <a:gd name="T64" fmla="*/ 274 w 309"/>
                <a:gd name="T65" fmla="*/ 619 h 619"/>
                <a:gd name="T66" fmla="*/ 309 w 309"/>
                <a:gd name="T67" fmla="*/ 619 h 619"/>
                <a:gd name="T68" fmla="*/ 309 w 309"/>
                <a:gd name="T69" fmla="*/ 0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9" h="619">
                  <a:moveTo>
                    <a:pt x="309" y="0"/>
                  </a:moveTo>
                  <a:lnTo>
                    <a:pt x="274" y="0"/>
                  </a:lnTo>
                  <a:cubicBezTo>
                    <a:pt x="259" y="0"/>
                    <a:pt x="247" y="12"/>
                    <a:pt x="247" y="27"/>
                  </a:cubicBezTo>
                  <a:lnTo>
                    <a:pt x="247" y="47"/>
                  </a:lnTo>
                  <a:cubicBezTo>
                    <a:pt x="247" y="60"/>
                    <a:pt x="239" y="71"/>
                    <a:pt x="227" y="76"/>
                  </a:cubicBezTo>
                  <a:cubicBezTo>
                    <a:pt x="218" y="79"/>
                    <a:pt x="210" y="82"/>
                    <a:pt x="201" y="86"/>
                  </a:cubicBezTo>
                  <a:cubicBezTo>
                    <a:pt x="190" y="92"/>
                    <a:pt x="177" y="89"/>
                    <a:pt x="168" y="80"/>
                  </a:cubicBezTo>
                  <a:lnTo>
                    <a:pt x="156" y="68"/>
                  </a:lnTo>
                  <a:cubicBezTo>
                    <a:pt x="143" y="55"/>
                    <a:pt x="126" y="55"/>
                    <a:pt x="115" y="66"/>
                  </a:cubicBezTo>
                  <a:lnTo>
                    <a:pt x="66" y="116"/>
                  </a:lnTo>
                  <a:cubicBezTo>
                    <a:pt x="55" y="126"/>
                    <a:pt x="55" y="143"/>
                    <a:pt x="66" y="154"/>
                  </a:cubicBezTo>
                  <a:lnTo>
                    <a:pt x="79" y="168"/>
                  </a:lnTo>
                  <a:cubicBezTo>
                    <a:pt x="88" y="177"/>
                    <a:pt x="91" y="191"/>
                    <a:pt x="85" y="203"/>
                  </a:cubicBezTo>
                  <a:cubicBezTo>
                    <a:pt x="82" y="211"/>
                    <a:pt x="78" y="219"/>
                    <a:pt x="75" y="227"/>
                  </a:cubicBezTo>
                  <a:cubicBezTo>
                    <a:pt x="71" y="239"/>
                    <a:pt x="59" y="247"/>
                    <a:pt x="46" y="247"/>
                  </a:cubicBezTo>
                  <a:lnTo>
                    <a:pt x="27" y="247"/>
                  </a:lnTo>
                  <a:cubicBezTo>
                    <a:pt x="12" y="247"/>
                    <a:pt x="0" y="259"/>
                    <a:pt x="0" y="274"/>
                  </a:cubicBezTo>
                  <a:lnTo>
                    <a:pt x="0" y="345"/>
                  </a:lnTo>
                  <a:cubicBezTo>
                    <a:pt x="0" y="360"/>
                    <a:pt x="12" y="372"/>
                    <a:pt x="27" y="372"/>
                  </a:cubicBezTo>
                  <a:lnTo>
                    <a:pt x="46" y="372"/>
                  </a:lnTo>
                  <a:cubicBezTo>
                    <a:pt x="59" y="372"/>
                    <a:pt x="71" y="380"/>
                    <a:pt x="75" y="392"/>
                  </a:cubicBezTo>
                  <a:cubicBezTo>
                    <a:pt x="78" y="401"/>
                    <a:pt x="82" y="409"/>
                    <a:pt x="86" y="418"/>
                  </a:cubicBezTo>
                  <a:cubicBezTo>
                    <a:pt x="91" y="429"/>
                    <a:pt x="89" y="442"/>
                    <a:pt x="80" y="451"/>
                  </a:cubicBezTo>
                  <a:lnTo>
                    <a:pt x="67" y="463"/>
                  </a:lnTo>
                  <a:cubicBezTo>
                    <a:pt x="55" y="476"/>
                    <a:pt x="55" y="493"/>
                    <a:pt x="66" y="504"/>
                  </a:cubicBezTo>
                  <a:lnTo>
                    <a:pt x="115" y="553"/>
                  </a:lnTo>
                  <a:cubicBezTo>
                    <a:pt x="126" y="564"/>
                    <a:pt x="143" y="564"/>
                    <a:pt x="154" y="553"/>
                  </a:cubicBezTo>
                  <a:lnTo>
                    <a:pt x="167" y="540"/>
                  </a:lnTo>
                  <a:cubicBezTo>
                    <a:pt x="177" y="531"/>
                    <a:pt x="191" y="528"/>
                    <a:pt x="202" y="533"/>
                  </a:cubicBezTo>
                  <a:cubicBezTo>
                    <a:pt x="211" y="537"/>
                    <a:pt x="219" y="541"/>
                    <a:pt x="228" y="544"/>
                  </a:cubicBezTo>
                  <a:cubicBezTo>
                    <a:pt x="239" y="548"/>
                    <a:pt x="247" y="559"/>
                    <a:pt x="247" y="572"/>
                  </a:cubicBezTo>
                  <a:lnTo>
                    <a:pt x="247" y="589"/>
                  </a:lnTo>
                  <a:cubicBezTo>
                    <a:pt x="247" y="607"/>
                    <a:pt x="259" y="619"/>
                    <a:pt x="274" y="619"/>
                  </a:cubicBezTo>
                  <a:lnTo>
                    <a:pt x="309" y="619"/>
                  </a:lnTo>
                  <a:lnTo>
                    <a:pt x="309" y="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32" name="Freeform 432">
              <a:extLst>
                <a:ext uri="{FF2B5EF4-FFF2-40B4-BE49-F238E27FC236}">
                  <a16:creationId xmlns:a16="http://schemas.microsoft.com/office/drawing/2014/main" id="{31C797AC-73D8-9F81-9FAC-AA223DE87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1369" y="8598174"/>
              <a:ext cx="55242" cy="102612"/>
            </a:xfrm>
            <a:custGeom>
              <a:avLst/>
              <a:gdLst>
                <a:gd name="T0" fmla="*/ 140 w 140"/>
                <a:gd name="T1" fmla="*/ 280 h 280"/>
                <a:gd name="T2" fmla="*/ 0 w 140"/>
                <a:gd name="T3" fmla="*/ 140 h 280"/>
                <a:gd name="T4" fmla="*/ 140 w 140"/>
                <a:gd name="T5" fmla="*/ 0 h 280"/>
                <a:gd name="T6" fmla="*/ 140 w 140"/>
                <a:gd name="T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280">
                  <a:moveTo>
                    <a:pt x="140" y="280"/>
                  </a:moveTo>
                  <a:cubicBezTo>
                    <a:pt x="63" y="280"/>
                    <a:pt x="0" y="217"/>
                    <a:pt x="0" y="140"/>
                  </a:cubicBezTo>
                  <a:cubicBezTo>
                    <a:pt x="0" y="62"/>
                    <a:pt x="63" y="0"/>
                    <a:pt x="140" y="0"/>
                  </a:cubicBezTo>
                  <a:lnTo>
                    <a:pt x="140" y="28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33" name="Freeform 433">
              <a:extLst>
                <a:ext uri="{FF2B5EF4-FFF2-40B4-BE49-F238E27FC236}">
                  <a16:creationId xmlns:a16="http://schemas.microsoft.com/office/drawing/2014/main" id="{77C39CF4-6CE4-4286-185F-109E859AC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8607" y="8594725"/>
              <a:ext cx="58004" cy="108648"/>
            </a:xfrm>
            <a:custGeom>
              <a:avLst/>
              <a:gdLst>
                <a:gd name="T0" fmla="*/ 148 w 148"/>
                <a:gd name="T1" fmla="*/ 297 h 297"/>
                <a:gd name="T2" fmla="*/ 0 w 148"/>
                <a:gd name="T3" fmla="*/ 149 h 297"/>
                <a:gd name="T4" fmla="*/ 148 w 148"/>
                <a:gd name="T5" fmla="*/ 0 h 297"/>
                <a:gd name="T6" fmla="*/ 148 w 148"/>
                <a:gd name="T7" fmla="*/ 17 h 297"/>
                <a:gd name="T8" fmla="*/ 17 w 148"/>
                <a:gd name="T9" fmla="*/ 149 h 297"/>
                <a:gd name="T10" fmla="*/ 148 w 148"/>
                <a:gd name="T11" fmla="*/ 280 h 297"/>
                <a:gd name="T12" fmla="*/ 148 w 148"/>
                <a:gd name="T1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297">
                  <a:moveTo>
                    <a:pt x="148" y="297"/>
                  </a:moveTo>
                  <a:cubicBezTo>
                    <a:pt x="66" y="297"/>
                    <a:pt x="0" y="230"/>
                    <a:pt x="0" y="149"/>
                  </a:cubicBezTo>
                  <a:cubicBezTo>
                    <a:pt x="0" y="67"/>
                    <a:pt x="66" y="0"/>
                    <a:pt x="148" y="0"/>
                  </a:cubicBezTo>
                  <a:lnTo>
                    <a:pt x="148" y="17"/>
                  </a:lnTo>
                  <a:cubicBezTo>
                    <a:pt x="76" y="17"/>
                    <a:pt x="17" y="76"/>
                    <a:pt x="17" y="149"/>
                  </a:cubicBezTo>
                  <a:cubicBezTo>
                    <a:pt x="17" y="221"/>
                    <a:pt x="76" y="280"/>
                    <a:pt x="148" y="280"/>
                  </a:cubicBezTo>
                  <a:lnTo>
                    <a:pt x="148" y="29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34" name="Freeform 434">
              <a:extLst>
                <a:ext uri="{FF2B5EF4-FFF2-40B4-BE49-F238E27FC236}">
                  <a16:creationId xmlns:a16="http://schemas.microsoft.com/office/drawing/2014/main" id="{E7C107BA-F156-C327-BC64-6813A5AB1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2317" y="8532641"/>
              <a:ext cx="124294" cy="233680"/>
            </a:xfrm>
            <a:custGeom>
              <a:avLst/>
              <a:gdLst>
                <a:gd name="T0" fmla="*/ 283 w 318"/>
                <a:gd name="T1" fmla="*/ 636 h 636"/>
                <a:gd name="T2" fmla="*/ 248 w 318"/>
                <a:gd name="T3" fmla="*/ 580 h 636"/>
                <a:gd name="T4" fmla="*/ 208 w 318"/>
                <a:gd name="T5" fmla="*/ 549 h 636"/>
                <a:gd name="T6" fmla="*/ 169 w 318"/>
                <a:gd name="T7" fmla="*/ 567 h 636"/>
                <a:gd name="T8" fmla="*/ 69 w 318"/>
                <a:gd name="T9" fmla="*/ 518 h 636"/>
                <a:gd name="T10" fmla="*/ 83 w 318"/>
                <a:gd name="T11" fmla="*/ 453 h 636"/>
                <a:gd name="T12" fmla="*/ 77 w 318"/>
                <a:gd name="T13" fmla="*/ 403 h 636"/>
                <a:gd name="T14" fmla="*/ 36 w 318"/>
                <a:gd name="T15" fmla="*/ 388 h 636"/>
                <a:gd name="T16" fmla="*/ 0 w 318"/>
                <a:gd name="T17" fmla="*/ 282 h 636"/>
                <a:gd name="T18" fmla="*/ 55 w 318"/>
                <a:gd name="T19" fmla="*/ 247 h 636"/>
                <a:gd name="T20" fmla="*/ 87 w 318"/>
                <a:gd name="T21" fmla="*/ 207 h 636"/>
                <a:gd name="T22" fmla="*/ 69 w 318"/>
                <a:gd name="T23" fmla="*/ 168 h 636"/>
                <a:gd name="T24" fmla="*/ 69 w 318"/>
                <a:gd name="T25" fmla="*/ 118 h 636"/>
                <a:gd name="T26" fmla="*/ 144 w 318"/>
                <a:gd name="T27" fmla="*/ 58 h 636"/>
                <a:gd name="T28" fmla="*/ 183 w 318"/>
                <a:gd name="T29" fmla="*/ 82 h 636"/>
                <a:gd name="T30" fmla="*/ 233 w 318"/>
                <a:gd name="T31" fmla="*/ 76 h 636"/>
                <a:gd name="T32" fmla="*/ 248 w 318"/>
                <a:gd name="T33" fmla="*/ 35 h 636"/>
                <a:gd name="T34" fmla="*/ 318 w 318"/>
                <a:gd name="T35" fmla="*/ 0 h 636"/>
                <a:gd name="T36" fmla="*/ 283 w 318"/>
                <a:gd name="T37" fmla="*/ 16 h 636"/>
                <a:gd name="T38" fmla="*/ 264 w 318"/>
                <a:gd name="T39" fmla="*/ 55 h 636"/>
                <a:gd name="T40" fmla="*/ 214 w 318"/>
                <a:gd name="T41" fmla="*/ 102 h 636"/>
                <a:gd name="T42" fmla="*/ 159 w 318"/>
                <a:gd name="T43" fmla="*/ 82 h 636"/>
                <a:gd name="T44" fmla="*/ 130 w 318"/>
                <a:gd name="T45" fmla="*/ 80 h 636"/>
                <a:gd name="T46" fmla="*/ 75 w 318"/>
                <a:gd name="T47" fmla="*/ 143 h 636"/>
                <a:gd name="T48" fmla="*/ 94 w 318"/>
                <a:gd name="T49" fmla="*/ 170 h 636"/>
                <a:gd name="T50" fmla="*/ 92 w 318"/>
                <a:gd name="T51" fmla="*/ 238 h 636"/>
                <a:gd name="T52" fmla="*/ 36 w 318"/>
                <a:gd name="T53" fmla="*/ 264 h 636"/>
                <a:gd name="T54" fmla="*/ 17 w 318"/>
                <a:gd name="T55" fmla="*/ 353 h 636"/>
                <a:gd name="T56" fmla="*/ 55 w 318"/>
                <a:gd name="T57" fmla="*/ 372 h 636"/>
                <a:gd name="T58" fmla="*/ 102 w 318"/>
                <a:gd name="T59" fmla="*/ 422 h 636"/>
                <a:gd name="T60" fmla="*/ 82 w 318"/>
                <a:gd name="T61" fmla="*/ 477 h 636"/>
                <a:gd name="T62" fmla="*/ 130 w 318"/>
                <a:gd name="T63" fmla="*/ 556 h 636"/>
                <a:gd name="T64" fmla="*/ 171 w 318"/>
                <a:gd name="T65" fmla="*/ 542 h 636"/>
                <a:gd name="T66" fmla="*/ 239 w 318"/>
                <a:gd name="T67" fmla="*/ 544 h 636"/>
                <a:gd name="T68" fmla="*/ 264 w 318"/>
                <a:gd name="T69" fmla="*/ 597 h 636"/>
                <a:gd name="T70" fmla="*/ 318 w 318"/>
                <a:gd name="T71" fmla="*/ 619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8" h="636">
                  <a:moveTo>
                    <a:pt x="318" y="636"/>
                  </a:moveTo>
                  <a:lnTo>
                    <a:pt x="283" y="636"/>
                  </a:lnTo>
                  <a:cubicBezTo>
                    <a:pt x="263" y="636"/>
                    <a:pt x="248" y="619"/>
                    <a:pt x="248" y="597"/>
                  </a:cubicBezTo>
                  <a:lnTo>
                    <a:pt x="248" y="580"/>
                  </a:lnTo>
                  <a:cubicBezTo>
                    <a:pt x="248" y="571"/>
                    <a:pt x="242" y="563"/>
                    <a:pt x="234" y="560"/>
                  </a:cubicBezTo>
                  <a:cubicBezTo>
                    <a:pt x="225" y="557"/>
                    <a:pt x="216" y="553"/>
                    <a:pt x="208" y="549"/>
                  </a:cubicBezTo>
                  <a:cubicBezTo>
                    <a:pt x="199" y="545"/>
                    <a:pt x="189" y="547"/>
                    <a:pt x="182" y="554"/>
                  </a:cubicBezTo>
                  <a:lnTo>
                    <a:pt x="169" y="567"/>
                  </a:lnTo>
                  <a:cubicBezTo>
                    <a:pt x="155" y="581"/>
                    <a:pt x="132" y="581"/>
                    <a:pt x="118" y="567"/>
                  </a:cubicBezTo>
                  <a:lnTo>
                    <a:pt x="69" y="518"/>
                  </a:lnTo>
                  <a:cubicBezTo>
                    <a:pt x="54" y="503"/>
                    <a:pt x="55" y="481"/>
                    <a:pt x="71" y="465"/>
                  </a:cubicBezTo>
                  <a:lnTo>
                    <a:pt x="83" y="453"/>
                  </a:lnTo>
                  <a:cubicBezTo>
                    <a:pt x="89" y="447"/>
                    <a:pt x="91" y="437"/>
                    <a:pt x="87" y="429"/>
                  </a:cubicBezTo>
                  <a:cubicBezTo>
                    <a:pt x="83" y="421"/>
                    <a:pt x="80" y="412"/>
                    <a:pt x="77" y="403"/>
                  </a:cubicBezTo>
                  <a:cubicBezTo>
                    <a:pt x="73" y="394"/>
                    <a:pt x="65" y="388"/>
                    <a:pt x="55" y="388"/>
                  </a:cubicBezTo>
                  <a:lnTo>
                    <a:pt x="36" y="388"/>
                  </a:lnTo>
                  <a:cubicBezTo>
                    <a:pt x="16" y="388"/>
                    <a:pt x="0" y="372"/>
                    <a:pt x="0" y="353"/>
                  </a:cubicBezTo>
                  <a:lnTo>
                    <a:pt x="0" y="282"/>
                  </a:lnTo>
                  <a:cubicBezTo>
                    <a:pt x="0" y="263"/>
                    <a:pt x="16" y="247"/>
                    <a:pt x="36" y="247"/>
                  </a:cubicBezTo>
                  <a:lnTo>
                    <a:pt x="55" y="247"/>
                  </a:lnTo>
                  <a:cubicBezTo>
                    <a:pt x="65" y="247"/>
                    <a:pt x="73" y="241"/>
                    <a:pt x="77" y="232"/>
                  </a:cubicBezTo>
                  <a:cubicBezTo>
                    <a:pt x="80" y="224"/>
                    <a:pt x="83" y="215"/>
                    <a:pt x="87" y="207"/>
                  </a:cubicBezTo>
                  <a:cubicBezTo>
                    <a:pt x="91" y="199"/>
                    <a:pt x="89" y="188"/>
                    <a:pt x="82" y="182"/>
                  </a:cubicBezTo>
                  <a:lnTo>
                    <a:pt x="69" y="168"/>
                  </a:lnTo>
                  <a:cubicBezTo>
                    <a:pt x="62" y="161"/>
                    <a:pt x="58" y="152"/>
                    <a:pt x="58" y="143"/>
                  </a:cubicBezTo>
                  <a:cubicBezTo>
                    <a:pt x="58" y="133"/>
                    <a:pt x="62" y="124"/>
                    <a:pt x="69" y="118"/>
                  </a:cubicBezTo>
                  <a:lnTo>
                    <a:pt x="118" y="68"/>
                  </a:lnTo>
                  <a:cubicBezTo>
                    <a:pt x="125" y="61"/>
                    <a:pt x="134" y="57"/>
                    <a:pt x="144" y="58"/>
                  </a:cubicBezTo>
                  <a:cubicBezTo>
                    <a:pt x="154" y="58"/>
                    <a:pt x="163" y="62"/>
                    <a:pt x="170" y="70"/>
                  </a:cubicBezTo>
                  <a:lnTo>
                    <a:pt x="183" y="82"/>
                  </a:lnTo>
                  <a:cubicBezTo>
                    <a:pt x="189" y="89"/>
                    <a:pt x="199" y="90"/>
                    <a:pt x="207" y="87"/>
                  </a:cubicBezTo>
                  <a:cubicBezTo>
                    <a:pt x="215" y="83"/>
                    <a:pt x="224" y="79"/>
                    <a:pt x="233" y="76"/>
                  </a:cubicBezTo>
                  <a:cubicBezTo>
                    <a:pt x="242" y="73"/>
                    <a:pt x="248" y="64"/>
                    <a:pt x="248" y="55"/>
                  </a:cubicBezTo>
                  <a:lnTo>
                    <a:pt x="248" y="35"/>
                  </a:lnTo>
                  <a:cubicBezTo>
                    <a:pt x="248" y="16"/>
                    <a:pt x="264" y="0"/>
                    <a:pt x="283" y="0"/>
                  </a:cubicBezTo>
                  <a:lnTo>
                    <a:pt x="318" y="0"/>
                  </a:lnTo>
                  <a:lnTo>
                    <a:pt x="318" y="16"/>
                  </a:lnTo>
                  <a:lnTo>
                    <a:pt x="283" y="16"/>
                  </a:lnTo>
                  <a:cubicBezTo>
                    <a:pt x="273" y="16"/>
                    <a:pt x="264" y="25"/>
                    <a:pt x="264" y="35"/>
                  </a:cubicBezTo>
                  <a:lnTo>
                    <a:pt x="264" y="55"/>
                  </a:lnTo>
                  <a:cubicBezTo>
                    <a:pt x="264" y="71"/>
                    <a:pt x="254" y="86"/>
                    <a:pt x="238" y="92"/>
                  </a:cubicBezTo>
                  <a:cubicBezTo>
                    <a:pt x="230" y="95"/>
                    <a:pt x="222" y="98"/>
                    <a:pt x="214" y="102"/>
                  </a:cubicBezTo>
                  <a:cubicBezTo>
                    <a:pt x="200" y="109"/>
                    <a:pt x="183" y="106"/>
                    <a:pt x="171" y="94"/>
                  </a:cubicBezTo>
                  <a:lnTo>
                    <a:pt x="159" y="82"/>
                  </a:lnTo>
                  <a:cubicBezTo>
                    <a:pt x="154" y="77"/>
                    <a:pt x="149" y="75"/>
                    <a:pt x="144" y="75"/>
                  </a:cubicBezTo>
                  <a:cubicBezTo>
                    <a:pt x="139" y="74"/>
                    <a:pt x="134" y="76"/>
                    <a:pt x="130" y="80"/>
                  </a:cubicBezTo>
                  <a:lnTo>
                    <a:pt x="80" y="130"/>
                  </a:lnTo>
                  <a:cubicBezTo>
                    <a:pt x="77" y="133"/>
                    <a:pt x="75" y="138"/>
                    <a:pt x="75" y="143"/>
                  </a:cubicBezTo>
                  <a:cubicBezTo>
                    <a:pt x="75" y="148"/>
                    <a:pt x="77" y="153"/>
                    <a:pt x="80" y="156"/>
                  </a:cubicBezTo>
                  <a:lnTo>
                    <a:pt x="94" y="170"/>
                  </a:lnTo>
                  <a:cubicBezTo>
                    <a:pt x="106" y="182"/>
                    <a:pt x="109" y="199"/>
                    <a:pt x="102" y="214"/>
                  </a:cubicBezTo>
                  <a:cubicBezTo>
                    <a:pt x="98" y="222"/>
                    <a:pt x="95" y="230"/>
                    <a:pt x="92" y="238"/>
                  </a:cubicBezTo>
                  <a:cubicBezTo>
                    <a:pt x="87" y="253"/>
                    <a:pt x="72" y="264"/>
                    <a:pt x="55" y="264"/>
                  </a:cubicBezTo>
                  <a:lnTo>
                    <a:pt x="36" y="264"/>
                  </a:lnTo>
                  <a:cubicBezTo>
                    <a:pt x="26" y="264"/>
                    <a:pt x="17" y="272"/>
                    <a:pt x="17" y="282"/>
                  </a:cubicBezTo>
                  <a:lnTo>
                    <a:pt x="17" y="353"/>
                  </a:lnTo>
                  <a:cubicBezTo>
                    <a:pt x="17" y="363"/>
                    <a:pt x="26" y="372"/>
                    <a:pt x="36" y="372"/>
                  </a:cubicBezTo>
                  <a:lnTo>
                    <a:pt x="55" y="372"/>
                  </a:lnTo>
                  <a:cubicBezTo>
                    <a:pt x="72" y="372"/>
                    <a:pt x="87" y="382"/>
                    <a:pt x="92" y="398"/>
                  </a:cubicBezTo>
                  <a:cubicBezTo>
                    <a:pt x="95" y="406"/>
                    <a:pt x="99" y="414"/>
                    <a:pt x="102" y="422"/>
                  </a:cubicBezTo>
                  <a:cubicBezTo>
                    <a:pt x="109" y="436"/>
                    <a:pt x="106" y="453"/>
                    <a:pt x="95" y="465"/>
                  </a:cubicBezTo>
                  <a:lnTo>
                    <a:pt x="82" y="477"/>
                  </a:lnTo>
                  <a:cubicBezTo>
                    <a:pt x="74" y="486"/>
                    <a:pt x="73" y="498"/>
                    <a:pt x="80" y="506"/>
                  </a:cubicBezTo>
                  <a:lnTo>
                    <a:pt x="130" y="556"/>
                  </a:lnTo>
                  <a:cubicBezTo>
                    <a:pt x="138" y="563"/>
                    <a:pt x="150" y="563"/>
                    <a:pt x="157" y="556"/>
                  </a:cubicBezTo>
                  <a:lnTo>
                    <a:pt x="171" y="542"/>
                  </a:lnTo>
                  <a:cubicBezTo>
                    <a:pt x="182" y="530"/>
                    <a:pt x="200" y="527"/>
                    <a:pt x="215" y="534"/>
                  </a:cubicBezTo>
                  <a:cubicBezTo>
                    <a:pt x="223" y="538"/>
                    <a:pt x="231" y="541"/>
                    <a:pt x="239" y="544"/>
                  </a:cubicBezTo>
                  <a:cubicBezTo>
                    <a:pt x="254" y="549"/>
                    <a:pt x="264" y="564"/>
                    <a:pt x="264" y="580"/>
                  </a:cubicBezTo>
                  <a:lnTo>
                    <a:pt x="264" y="597"/>
                  </a:lnTo>
                  <a:cubicBezTo>
                    <a:pt x="264" y="610"/>
                    <a:pt x="272" y="619"/>
                    <a:pt x="283" y="619"/>
                  </a:cubicBezTo>
                  <a:lnTo>
                    <a:pt x="318" y="619"/>
                  </a:lnTo>
                  <a:lnTo>
                    <a:pt x="318" y="636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0" name="Freeform 435">
              <a:extLst>
                <a:ext uri="{FF2B5EF4-FFF2-40B4-BE49-F238E27FC236}">
                  <a16:creationId xmlns:a16="http://schemas.microsoft.com/office/drawing/2014/main" id="{53248D11-5D15-402D-39F6-12AFC49B6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6720" y="8721481"/>
              <a:ext cx="116007" cy="54324"/>
            </a:xfrm>
            <a:custGeom>
              <a:avLst/>
              <a:gdLst>
                <a:gd name="T0" fmla="*/ 297 w 297"/>
                <a:gd name="T1" fmla="*/ 149 h 149"/>
                <a:gd name="T2" fmla="*/ 281 w 297"/>
                <a:gd name="T3" fmla="*/ 149 h 149"/>
                <a:gd name="T4" fmla="*/ 149 w 297"/>
                <a:gd name="T5" fmla="*/ 17 h 149"/>
                <a:gd name="T6" fmla="*/ 17 w 297"/>
                <a:gd name="T7" fmla="*/ 149 h 149"/>
                <a:gd name="T8" fmla="*/ 0 w 297"/>
                <a:gd name="T9" fmla="*/ 149 h 149"/>
                <a:gd name="T10" fmla="*/ 149 w 297"/>
                <a:gd name="T11" fmla="*/ 0 h 149"/>
                <a:gd name="T12" fmla="*/ 297 w 297"/>
                <a:gd name="T1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49">
                  <a:moveTo>
                    <a:pt x="297" y="149"/>
                  </a:moveTo>
                  <a:lnTo>
                    <a:pt x="281" y="149"/>
                  </a:lnTo>
                  <a:cubicBezTo>
                    <a:pt x="281" y="76"/>
                    <a:pt x="221" y="17"/>
                    <a:pt x="149" y="17"/>
                  </a:cubicBezTo>
                  <a:cubicBezTo>
                    <a:pt x="76" y="17"/>
                    <a:pt x="17" y="76"/>
                    <a:pt x="17" y="149"/>
                  </a:cubicBezTo>
                  <a:lnTo>
                    <a:pt x="0" y="149"/>
                  </a:lnTo>
                  <a:cubicBezTo>
                    <a:pt x="0" y="67"/>
                    <a:pt x="67" y="0"/>
                    <a:pt x="149" y="0"/>
                  </a:cubicBezTo>
                  <a:cubicBezTo>
                    <a:pt x="231" y="0"/>
                    <a:pt x="297" y="67"/>
                    <a:pt x="297" y="149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1" name="Freeform 436">
              <a:extLst>
                <a:ext uri="{FF2B5EF4-FFF2-40B4-BE49-F238E27FC236}">
                  <a16:creationId xmlns:a16="http://schemas.microsoft.com/office/drawing/2014/main" id="{339999E2-B0D6-EB2C-1095-31736ED75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0431" y="8659396"/>
              <a:ext cx="248587" cy="116409"/>
            </a:xfrm>
            <a:custGeom>
              <a:avLst/>
              <a:gdLst>
                <a:gd name="T0" fmla="*/ 619 w 636"/>
                <a:gd name="T1" fmla="*/ 318 h 318"/>
                <a:gd name="T2" fmla="*/ 600 w 636"/>
                <a:gd name="T3" fmla="*/ 264 h 318"/>
                <a:gd name="T4" fmla="*/ 544 w 636"/>
                <a:gd name="T5" fmla="*/ 238 h 318"/>
                <a:gd name="T6" fmla="*/ 541 w 636"/>
                <a:gd name="T7" fmla="*/ 171 h 318"/>
                <a:gd name="T8" fmla="*/ 556 w 636"/>
                <a:gd name="T9" fmla="*/ 130 h 318"/>
                <a:gd name="T10" fmla="*/ 479 w 636"/>
                <a:gd name="T11" fmla="*/ 80 h 318"/>
                <a:gd name="T12" fmla="*/ 421 w 636"/>
                <a:gd name="T13" fmla="*/ 102 h 318"/>
                <a:gd name="T14" fmla="*/ 372 w 636"/>
                <a:gd name="T15" fmla="*/ 55 h 318"/>
                <a:gd name="T16" fmla="*/ 353 w 636"/>
                <a:gd name="T17" fmla="*/ 17 h 318"/>
                <a:gd name="T18" fmla="*/ 264 w 636"/>
                <a:gd name="T19" fmla="*/ 36 h 318"/>
                <a:gd name="T20" fmla="*/ 238 w 636"/>
                <a:gd name="T21" fmla="*/ 92 h 318"/>
                <a:gd name="T22" fmla="*/ 171 w 636"/>
                <a:gd name="T23" fmla="*/ 94 h 318"/>
                <a:gd name="T24" fmla="*/ 143 w 636"/>
                <a:gd name="T25" fmla="*/ 75 h 318"/>
                <a:gd name="T26" fmla="*/ 80 w 636"/>
                <a:gd name="T27" fmla="*/ 130 h 318"/>
                <a:gd name="T28" fmla="*/ 94 w 636"/>
                <a:gd name="T29" fmla="*/ 170 h 318"/>
                <a:gd name="T30" fmla="*/ 91 w 636"/>
                <a:gd name="T31" fmla="*/ 239 h 318"/>
                <a:gd name="T32" fmla="*/ 38 w 636"/>
                <a:gd name="T33" fmla="*/ 264 h 318"/>
                <a:gd name="T34" fmla="*/ 17 w 636"/>
                <a:gd name="T35" fmla="*/ 318 h 318"/>
                <a:gd name="T36" fmla="*/ 0 w 636"/>
                <a:gd name="T37" fmla="*/ 283 h 318"/>
                <a:gd name="T38" fmla="*/ 56 w 636"/>
                <a:gd name="T39" fmla="*/ 247 h 318"/>
                <a:gd name="T40" fmla="*/ 86 w 636"/>
                <a:gd name="T41" fmla="*/ 207 h 318"/>
                <a:gd name="T42" fmla="*/ 68 w 636"/>
                <a:gd name="T43" fmla="*/ 168 h 318"/>
                <a:gd name="T44" fmla="*/ 68 w 636"/>
                <a:gd name="T45" fmla="*/ 118 h 318"/>
                <a:gd name="T46" fmla="*/ 144 w 636"/>
                <a:gd name="T47" fmla="*/ 58 h 318"/>
                <a:gd name="T48" fmla="*/ 183 w 636"/>
                <a:gd name="T49" fmla="*/ 83 h 318"/>
                <a:gd name="T50" fmla="*/ 232 w 636"/>
                <a:gd name="T51" fmla="*/ 76 h 318"/>
                <a:gd name="T52" fmla="*/ 247 w 636"/>
                <a:gd name="T53" fmla="*/ 36 h 318"/>
                <a:gd name="T54" fmla="*/ 353 w 636"/>
                <a:gd name="T55" fmla="*/ 0 h 318"/>
                <a:gd name="T56" fmla="*/ 389 w 636"/>
                <a:gd name="T57" fmla="*/ 55 h 318"/>
                <a:gd name="T58" fmla="*/ 428 w 636"/>
                <a:gd name="T59" fmla="*/ 87 h 318"/>
                <a:gd name="T60" fmla="*/ 467 w 636"/>
                <a:gd name="T61" fmla="*/ 68 h 318"/>
                <a:gd name="T62" fmla="*/ 567 w 636"/>
                <a:gd name="T63" fmla="*/ 118 h 318"/>
                <a:gd name="T64" fmla="*/ 553 w 636"/>
                <a:gd name="T65" fmla="*/ 183 h 318"/>
                <a:gd name="T66" fmla="*/ 560 w 636"/>
                <a:gd name="T67" fmla="*/ 232 h 318"/>
                <a:gd name="T68" fmla="*/ 600 w 636"/>
                <a:gd name="T69" fmla="*/ 247 h 318"/>
                <a:gd name="T70" fmla="*/ 636 w 636"/>
                <a:gd name="T71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6" h="318">
                  <a:moveTo>
                    <a:pt x="636" y="318"/>
                  </a:moveTo>
                  <a:lnTo>
                    <a:pt x="619" y="318"/>
                  </a:lnTo>
                  <a:lnTo>
                    <a:pt x="619" y="283"/>
                  </a:lnTo>
                  <a:cubicBezTo>
                    <a:pt x="619" y="272"/>
                    <a:pt x="611" y="264"/>
                    <a:pt x="600" y="264"/>
                  </a:cubicBezTo>
                  <a:lnTo>
                    <a:pt x="581" y="264"/>
                  </a:lnTo>
                  <a:cubicBezTo>
                    <a:pt x="564" y="264"/>
                    <a:pt x="549" y="253"/>
                    <a:pt x="544" y="238"/>
                  </a:cubicBezTo>
                  <a:cubicBezTo>
                    <a:pt x="541" y="230"/>
                    <a:pt x="538" y="221"/>
                    <a:pt x="534" y="214"/>
                  </a:cubicBezTo>
                  <a:cubicBezTo>
                    <a:pt x="527" y="199"/>
                    <a:pt x="530" y="182"/>
                    <a:pt x="541" y="171"/>
                  </a:cubicBezTo>
                  <a:lnTo>
                    <a:pt x="554" y="158"/>
                  </a:lnTo>
                  <a:cubicBezTo>
                    <a:pt x="563" y="149"/>
                    <a:pt x="563" y="137"/>
                    <a:pt x="556" y="130"/>
                  </a:cubicBezTo>
                  <a:lnTo>
                    <a:pt x="506" y="80"/>
                  </a:lnTo>
                  <a:cubicBezTo>
                    <a:pt x="499" y="73"/>
                    <a:pt x="486" y="73"/>
                    <a:pt x="479" y="80"/>
                  </a:cubicBezTo>
                  <a:lnTo>
                    <a:pt x="466" y="94"/>
                  </a:lnTo>
                  <a:cubicBezTo>
                    <a:pt x="454" y="105"/>
                    <a:pt x="436" y="109"/>
                    <a:pt x="421" y="102"/>
                  </a:cubicBezTo>
                  <a:cubicBezTo>
                    <a:pt x="414" y="98"/>
                    <a:pt x="406" y="95"/>
                    <a:pt x="398" y="92"/>
                  </a:cubicBezTo>
                  <a:cubicBezTo>
                    <a:pt x="382" y="86"/>
                    <a:pt x="372" y="72"/>
                    <a:pt x="372" y="55"/>
                  </a:cubicBezTo>
                  <a:lnTo>
                    <a:pt x="372" y="36"/>
                  </a:lnTo>
                  <a:cubicBezTo>
                    <a:pt x="372" y="25"/>
                    <a:pt x="363" y="17"/>
                    <a:pt x="353" y="17"/>
                  </a:cubicBezTo>
                  <a:lnTo>
                    <a:pt x="283" y="17"/>
                  </a:lnTo>
                  <a:cubicBezTo>
                    <a:pt x="272" y="17"/>
                    <a:pt x="264" y="25"/>
                    <a:pt x="264" y="36"/>
                  </a:cubicBezTo>
                  <a:lnTo>
                    <a:pt x="264" y="55"/>
                  </a:lnTo>
                  <a:cubicBezTo>
                    <a:pt x="264" y="72"/>
                    <a:pt x="253" y="86"/>
                    <a:pt x="238" y="92"/>
                  </a:cubicBezTo>
                  <a:cubicBezTo>
                    <a:pt x="230" y="95"/>
                    <a:pt x="221" y="98"/>
                    <a:pt x="214" y="102"/>
                  </a:cubicBezTo>
                  <a:cubicBezTo>
                    <a:pt x="199" y="109"/>
                    <a:pt x="182" y="106"/>
                    <a:pt x="171" y="94"/>
                  </a:cubicBezTo>
                  <a:lnTo>
                    <a:pt x="158" y="82"/>
                  </a:lnTo>
                  <a:cubicBezTo>
                    <a:pt x="154" y="77"/>
                    <a:pt x="148" y="75"/>
                    <a:pt x="143" y="75"/>
                  </a:cubicBezTo>
                  <a:cubicBezTo>
                    <a:pt x="138" y="74"/>
                    <a:pt x="133" y="76"/>
                    <a:pt x="130" y="80"/>
                  </a:cubicBezTo>
                  <a:lnTo>
                    <a:pt x="80" y="130"/>
                  </a:lnTo>
                  <a:cubicBezTo>
                    <a:pt x="73" y="137"/>
                    <a:pt x="73" y="149"/>
                    <a:pt x="80" y="156"/>
                  </a:cubicBezTo>
                  <a:lnTo>
                    <a:pt x="94" y="170"/>
                  </a:lnTo>
                  <a:cubicBezTo>
                    <a:pt x="105" y="182"/>
                    <a:pt x="109" y="200"/>
                    <a:pt x="101" y="214"/>
                  </a:cubicBezTo>
                  <a:cubicBezTo>
                    <a:pt x="98" y="222"/>
                    <a:pt x="94" y="231"/>
                    <a:pt x="91" y="239"/>
                  </a:cubicBezTo>
                  <a:cubicBezTo>
                    <a:pt x="86" y="254"/>
                    <a:pt x="72" y="264"/>
                    <a:pt x="56" y="264"/>
                  </a:cubicBezTo>
                  <a:lnTo>
                    <a:pt x="38" y="264"/>
                  </a:lnTo>
                  <a:cubicBezTo>
                    <a:pt x="26" y="264"/>
                    <a:pt x="17" y="272"/>
                    <a:pt x="17" y="283"/>
                  </a:cubicBezTo>
                  <a:lnTo>
                    <a:pt x="17" y="318"/>
                  </a:lnTo>
                  <a:lnTo>
                    <a:pt x="0" y="318"/>
                  </a:lnTo>
                  <a:lnTo>
                    <a:pt x="0" y="283"/>
                  </a:lnTo>
                  <a:cubicBezTo>
                    <a:pt x="0" y="262"/>
                    <a:pt x="16" y="247"/>
                    <a:pt x="38" y="247"/>
                  </a:cubicBezTo>
                  <a:lnTo>
                    <a:pt x="56" y="247"/>
                  </a:lnTo>
                  <a:cubicBezTo>
                    <a:pt x="65" y="247"/>
                    <a:pt x="73" y="242"/>
                    <a:pt x="76" y="233"/>
                  </a:cubicBezTo>
                  <a:cubicBezTo>
                    <a:pt x="79" y="225"/>
                    <a:pt x="82" y="216"/>
                    <a:pt x="86" y="207"/>
                  </a:cubicBezTo>
                  <a:cubicBezTo>
                    <a:pt x="90" y="199"/>
                    <a:pt x="89" y="189"/>
                    <a:pt x="82" y="182"/>
                  </a:cubicBezTo>
                  <a:lnTo>
                    <a:pt x="68" y="168"/>
                  </a:lnTo>
                  <a:cubicBezTo>
                    <a:pt x="61" y="162"/>
                    <a:pt x="58" y="153"/>
                    <a:pt x="58" y="143"/>
                  </a:cubicBezTo>
                  <a:cubicBezTo>
                    <a:pt x="58" y="134"/>
                    <a:pt x="61" y="125"/>
                    <a:pt x="68" y="118"/>
                  </a:cubicBezTo>
                  <a:lnTo>
                    <a:pt x="118" y="68"/>
                  </a:lnTo>
                  <a:cubicBezTo>
                    <a:pt x="125" y="61"/>
                    <a:pt x="133" y="58"/>
                    <a:pt x="144" y="58"/>
                  </a:cubicBezTo>
                  <a:cubicBezTo>
                    <a:pt x="153" y="58"/>
                    <a:pt x="163" y="63"/>
                    <a:pt x="170" y="70"/>
                  </a:cubicBezTo>
                  <a:lnTo>
                    <a:pt x="183" y="83"/>
                  </a:lnTo>
                  <a:cubicBezTo>
                    <a:pt x="189" y="89"/>
                    <a:pt x="198" y="91"/>
                    <a:pt x="206" y="87"/>
                  </a:cubicBezTo>
                  <a:cubicBezTo>
                    <a:pt x="215" y="83"/>
                    <a:pt x="223" y="79"/>
                    <a:pt x="232" y="76"/>
                  </a:cubicBezTo>
                  <a:cubicBezTo>
                    <a:pt x="241" y="73"/>
                    <a:pt x="247" y="64"/>
                    <a:pt x="247" y="55"/>
                  </a:cubicBezTo>
                  <a:lnTo>
                    <a:pt x="247" y="36"/>
                  </a:lnTo>
                  <a:cubicBezTo>
                    <a:pt x="247" y="16"/>
                    <a:pt x="263" y="0"/>
                    <a:pt x="283" y="0"/>
                  </a:cubicBezTo>
                  <a:lnTo>
                    <a:pt x="353" y="0"/>
                  </a:lnTo>
                  <a:cubicBezTo>
                    <a:pt x="373" y="0"/>
                    <a:pt x="389" y="16"/>
                    <a:pt x="389" y="36"/>
                  </a:cubicBezTo>
                  <a:lnTo>
                    <a:pt x="389" y="55"/>
                  </a:lnTo>
                  <a:cubicBezTo>
                    <a:pt x="389" y="64"/>
                    <a:pt x="394" y="73"/>
                    <a:pt x="403" y="76"/>
                  </a:cubicBezTo>
                  <a:cubicBezTo>
                    <a:pt x="412" y="79"/>
                    <a:pt x="420" y="83"/>
                    <a:pt x="428" y="87"/>
                  </a:cubicBezTo>
                  <a:cubicBezTo>
                    <a:pt x="437" y="91"/>
                    <a:pt x="447" y="89"/>
                    <a:pt x="454" y="82"/>
                  </a:cubicBezTo>
                  <a:lnTo>
                    <a:pt x="467" y="68"/>
                  </a:lnTo>
                  <a:cubicBezTo>
                    <a:pt x="481" y="55"/>
                    <a:pt x="504" y="55"/>
                    <a:pt x="518" y="68"/>
                  </a:cubicBezTo>
                  <a:lnTo>
                    <a:pt x="567" y="118"/>
                  </a:lnTo>
                  <a:cubicBezTo>
                    <a:pt x="582" y="132"/>
                    <a:pt x="581" y="155"/>
                    <a:pt x="566" y="170"/>
                  </a:cubicBezTo>
                  <a:lnTo>
                    <a:pt x="553" y="183"/>
                  </a:lnTo>
                  <a:cubicBezTo>
                    <a:pt x="547" y="189"/>
                    <a:pt x="545" y="199"/>
                    <a:pt x="549" y="206"/>
                  </a:cubicBezTo>
                  <a:cubicBezTo>
                    <a:pt x="553" y="215"/>
                    <a:pt x="556" y="224"/>
                    <a:pt x="560" y="232"/>
                  </a:cubicBezTo>
                  <a:cubicBezTo>
                    <a:pt x="563" y="241"/>
                    <a:pt x="571" y="247"/>
                    <a:pt x="581" y="247"/>
                  </a:cubicBezTo>
                  <a:lnTo>
                    <a:pt x="600" y="247"/>
                  </a:lnTo>
                  <a:cubicBezTo>
                    <a:pt x="620" y="247"/>
                    <a:pt x="636" y="263"/>
                    <a:pt x="636" y="283"/>
                  </a:cubicBezTo>
                  <a:lnTo>
                    <a:pt x="636" y="318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2" name="Freeform 437">
              <a:extLst>
                <a:ext uri="{FF2B5EF4-FFF2-40B4-BE49-F238E27FC236}">
                  <a16:creationId xmlns:a16="http://schemas.microsoft.com/office/drawing/2014/main" id="{09DD5D9F-9BF9-0183-7308-7AFC8EC34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6392" y="8463658"/>
              <a:ext cx="446536" cy="309561"/>
            </a:xfrm>
            <a:custGeom>
              <a:avLst/>
              <a:gdLst>
                <a:gd name="T0" fmla="*/ 17 w 1143"/>
                <a:gd name="T1" fmla="*/ 96 h 844"/>
                <a:gd name="T2" fmla="*/ 17 w 1143"/>
                <a:gd name="T3" fmla="*/ 775 h 844"/>
                <a:gd name="T4" fmla="*/ 69 w 1143"/>
                <a:gd name="T5" fmla="*/ 827 h 844"/>
                <a:gd name="T6" fmla="*/ 122 w 1143"/>
                <a:gd name="T7" fmla="*/ 775 h 844"/>
                <a:gd name="T8" fmla="*/ 122 w 1143"/>
                <a:gd name="T9" fmla="*/ 96 h 844"/>
                <a:gd name="T10" fmla="*/ 17 w 1143"/>
                <a:gd name="T11" fmla="*/ 96 h 844"/>
                <a:gd name="T12" fmla="*/ 69 w 1143"/>
                <a:gd name="T13" fmla="*/ 844 h 844"/>
                <a:gd name="T14" fmla="*/ 0 w 1143"/>
                <a:gd name="T15" fmla="*/ 775 h 844"/>
                <a:gd name="T16" fmla="*/ 0 w 1143"/>
                <a:gd name="T17" fmla="*/ 80 h 844"/>
                <a:gd name="T18" fmla="*/ 122 w 1143"/>
                <a:gd name="T19" fmla="*/ 80 h 844"/>
                <a:gd name="T20" fmla="*/ 122 w 1143"/>
                <a:gd name="T21" fmla="*/ 0 h 844"/>
                <a:gd name="T22" fmla="*/ 455 w 1143"/>
                <a:gd name="T23" fmla="*/ 0 h 844"/>
                <a:gd name="T24" fmla="*/ 525 w 1143"/>
                <a:gd name="T25" fmla="*/ 98 h 844"/>
                <a:gd name="T26" fmla="*/ 1143 w 1143"/>
                <a:gd name="T27" fmla="*/ 98 h 844"/>
                <a:gd name="T28" fmla="*/ 1143 w 1143"/>
                <a:gd name="T29" fmla="*/ 150 h 844"/>
                <a:gd name="T30" fmla="*/ 1126 w 1143"/>
                <a:gd name="T31" fmla="*/ 150 h 844"/>
                <a:gd name="T32" fmla="*/ 1126 w 1143"/>
                <a:gd name="T33" fmla="*/ 114 h 844"/>
                <a:gd name="T34" fmla="*/ 516 w 1143"/>
                <a:gd name="T35" fmla="*/ 114 h 844"/>
                <a:gd name="T36" fmla="*/ 447 w 1143"/>
                <a:gd name="T37" fmla="*/ 17 h 844"/>
                <a:gd name="T38" fmla="*/ 138 w 1143"/>
                <a:gd name="T39" fmla="*/ 17 h 844"/>
                <a:gd name="T40" fmla="*/ 138 w 1143"/>
                <a:gd name="T41" fmla="*/ 775 h 844"/>
                <a:gd name="T42" fmla="*/ 69 w 1143"/>
                <a:gd name="T43" fmla="*/ 844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3" h="844">
                  <a:moveTo>
                    <a:pt x="17" y="96"/>
                  </a:moveTo>
                  <a:lnTo>
                    <a:pt x="17" y="775"/>
                  </a:lnTo>
                  <a:cubicBezTo>
                    <a:pt x="17" y="804"/>
                    <a:pt x="40" y="827"/>
                    <a:pt x="69" y="827"/>
                  </a:cubicBezTo>
                  <a:cubicBezTo>
                    <a:pt x="98" y="827"/>
                    <a:pt x="122" y="804"/>
                    <a:pt x="122" y="775"/>
                  </a:cubicBezTo>
                  <a:lnTo>
                    <a:pt x="122" y="96"/>
                  </a:lnTo>
                  <a:lnTo>
                    <a:pt x="17" y="96"/>
                  </a:lnTo>
                  <a:close/>
                  <a:moveTo>
                    <a:pt x="69" y="844"/>
                  </a:moveTo>
                  <a:cubicBezTo>
                    <a:pt x="31" y="844"/>
                    <a:pt x="0" y="813"/>
                    <a:pt x="0" y="775"/>
                  </a:cubicBezTo>
                  <a:lnTo>
                    <a:pt x="0" y="80"/>
                  </a:lnTo>
                  <a:lnTo>
                    <a:pt x="122" y="80"/>
                  </a:lnTo>
                  <a:lnTo>
                    <a:pt x="122" y="0"/>
                  </a:lnTo>
                  <a:lnTo>
                    <a:pt x="455" y="0"/>
                  </a:lnTo>
                  <a:lnTo>
                    <a:pt x="525" y="98"/>
                  </a:lnTo>
                  <a:lnTo>
                    <a:pt x="1143" y="98"/>
                  </a:lnTo>
                  <a:lnTo>
                    <a:pt x="1143" y="150"/>
                  </a:lnTo>
                  <a:lnTo>
                    <a:pt x="1126" y="150"/>
                  </a:lnTo>
                  <a:lnTo>
                    <a:pt x="1126" y="114"/>
                  </a:lnTo>
                  <a:lnTo>
                    <a:pt x="516" y="114"/>
                  </a:lnTo>
                  <a:lnTo>
                    <a:pt x="447" y="17"/>
                  </a:lnTo>
                  <a:lnTo>
                    <a:pt x="138" y="17"/>
                  </a:lnTo>
                  <a:lnTo>
                    <a:pt x="138" y="775"/>
                  </a:lnTo>
                  <a:cubicBezTo>
                    <a:pt x="138" y="813"/>
                    <a:pt x="107" y="844"/>
                    <a:pt x="69" y="844"/>
                  </a:cubicBez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3" name="Freeform 438">
              <a:extLst>
                <a:ext uri="{FF2B5EF4-FFF2-40B4-BE49-F238E27FC236}">
                  <a16:creationId xmlns:a16="http://schemas.microsoft.com/office/drawing/2014/main" id="{A8555F87-3EA4-4987-63BB-F54D7C53D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9254" y="8410196"/>
              <a:ext cx="334212" cy="92265"/>
            </a:xfrm>
            <a:custGeom>
              <a:avLst/>
              <a:gdLst>
                <a:gd name="T0" fmla="*/ 363 w 363"/>
                <a:gd name="T1" fmla="*/ 107 h 107"/>
                <a:gd name="T2" fmla="*/ 355 w 363"/>
                <a:gd name="T3" fmla="*/ 107 h 107"/>
                <a:gd name="T4" fmla="*/ 355 w 363"/>
                <a:gd name="T5" fmla="*/ 7 h 107"/>
                <a:gd name="T6" fmla="*/ 8 w 363"/>
                <a:gd name="T7" fmla="*/ 7 h 107"/>
                <a:gd name="T8" fmla="*/ 8 w 363"/>
                <a:gd name="T9" fmla="*/ 65 h 107"/>
                <a:gd name="T10" fmla="*/ 0 w 363"/>
                <a:gd name="T11" fmla="*/ 65 h 107"/>
                <a:gd name="T12" fmla="*/ 0 w 363"/>
                <a:gd name="T13" fmla="*/ 0 h 107"/>
                <a:gd name="T14" fmla="*/ 363 w 363"/>
                <a:gd name="T15" fmla="*/ 0 h 107"/>
                <a:gd name="T16" fmla="*/ 363 w 363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107">
                  <a:moveTo>
                    <a:pt x="363" y="107"/>
                  </a:moveTo>
                  <a:lnTo>
                    <a:pt x="355" y="107"/>
                  </a:lnTo>
                  <a:lnTo>
                    <a:pt x="355" y="7"/>
                  </a:lnTo>
                  <a:lnTo>
                    <a:pt x="8" y="7"/>
                  </a:lnTo>
                  <a:lnTo>
                    <a:pt x="8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63" y="0"/>
                  </a:lnTo>
                  <a:lnTo>
                    <a:pt x="363" y="10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4" name="Rectangle 439">
              <a:extLst>
                <a:ext uri="{FF2B5EF4-FFF2-40B4-BE49-F238E27FC236}">
                  <a16:creationId xmlns:a16="http://schemas.microsoft.com/office/drawing/2014/main" id="{471EAC96-66B7-1D6D-4234-9833396D82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3092" y="8766320"/>
              <a:ext cx="58924" cy="6898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45" name="Round Same Side Corner Rectangle 11">
            <a:extLst>
              <a:ext uri="{FF2B5EF4-FFF2-40B4-BE49-F238E27FC236}">
                <a16:creationId xmlns:a16="http://schemas.microsoft.com/office/drawing/2014/main" id="{A800ADCE-DDCC-F7AE-6977-E54C7B3BA3CA}"/>
              </a:ext>
            </a:extLst>
          </p:cNvPr>
          <p:cNvSpPr/>
          <p:nvPr/>
        </p:nvSpPr>
        <p:spPr>
          <a:xfrm>
            <a:off x="3833070" y="2243896"/>
            <a:ext cx="2717032" cy="3352232"/>
          </a:xfrm>
          <a:prstGeom prst="roundRect">
            <a:avLst>
              <a:gd name="adj" fmla="val 2879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32ED8A4-A32A-2769-E26A-05C0EBF46322}"/>
              </a:ext>
            </a:extLst>
          </p:cNvPr>
          <p:cNvSpPr/>
          <p:nvPr/>
        </p:nvSpPr>
        <p:spPr>
          <a:xfrm>
            <a:off x="4008716" y="1819656"/>
            <a:ext cx="2551808" cy="4754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</a:t>
            </a:r>
          </a:p>
          <a:p>
            <a:pPr marL="1190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gra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E5C95A0-4815-D8B2-6AAF-2749D654A30F}"/>
              </a:ext>
            </a:extLst>
          </p:cNvPr>
          <p:cNvSpPr/>
          <p:nvPr/>
        </p:nvSpPr>
        <p:spPr>
          <a:xfrm>
            <a:off x="3786998" y="1810650"/>
            <a:ext cx="443438" cy="47535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>
            <a:outerShdw blurRad="50800" dist="50800" dir="5400000" sx="1000" sy="1000" algn="ctr" rotWithShape="0">
              <a:prstClr val="white">
                <a:alpha val="43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C9D35A25-5A21-204B-CB3D-6236EE67378A}"/>
              </a:ext>
            </a:extLst>
          </p:cNvPr>
          <p:cNvGrpSpPr/>
          <p:nvPr/>
        </p:nvGrpSpPr>
        <p:grpSpPr>
          <a:xfrm>
            <a:off x="3717656" y="1789735"/>
            <a:ext cx="550730" cy="510920"/>
            <a:chOff x="862812" y="2125006"/>
            <a:chExt cx="550730" cy="51092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C9B5A2F-E2E4-E831-BDF4-E51C0918374B}"/>
                </a:ext>
              </a:extLst>
            </p:cNvPr>
            <p:cNvSpPr/>
            <p:nvPr/>
          </p:nvSpPr>
          <p:spPr>
            <a:xfrm flipH="1">
              <a:off x="862812" y="2125006"/>
              <a:ext cx="550730" cy="510920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44">
              <a:extLst>
                <a:ext uri="{FF2B5EF4-FFF2-40B4-BE49-F238E27FC236}">
                  <a16:creationId xmlns:a16="http://schemas.microsoft.com/office/drawing/2014/main" id="{E18683C1-F497-19F5-806E-C9C56139A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819" y="2355131"/>
              <a:ext cx="113971" cy="113971"/>
            </a:xfrm>
            <a:custGeom>
              <a:avLst/>
              <a:gdLst>
                <a:gd name="T0" fmla="*/ 133 w 670"/>
                <a:gd name="T1" fmla="*/ 669 h 669"/>
                <a:gd name="T2" fmla="*/ 133 w 670"/>
                <a:gd name="T3" fmla="*/ 669 h 669"/>
                <a:gd name="T4" fmla="*/ 106 w 670"/>
                <a:gd name="T5" fmla="*/ 667 h 669"/>
                <a:gd name="T6" fmla="*/ 82 w 670"/>
                <a:gd name="T7" fmla="*/ 659 h 669"/>
                <a:gd name="T8" fmla="*/ 59 w 670"/>
                <a:gd name="T9" fmla="*/ 648 h 669"/>
                <a:gd name="T10" fmla="*/ 38 w 670"/>
                <a:gd name="T11" fmla="*/ 630 h 669"/>
                <a:gd name="T12" fmla="*/ 30 w 670"/>
                <a:gd name="T13" fmla="*/ 621 h 669"/>
                <a:gd name="T14" fmla="*/ 16 w 670"/>
                <a:gd name="T15" fmla="*/ 599 h 669"/>
                <a:gd name="T16" fmla="*/ 5 w 670"/>
                <a:gd name="T17" fmla="*/ 575 h 669"/>
                <a:gd name="T18" fmla="*/ 1 w 670"/>
                <a:gd name="T19" fmla="*/ 550 h 669"/>
                <a:gd name="T20" fmla="*/ 0 w 670"/>
                <a:gd name="T21" fmla="*/ 537 h 669"/>
                <a:gd name="T22" fmla="*/ 2 w 670"/>
                <a:gd name="T23" fmla="*/ 511 h 669"/>
                <a:gd name="T24" fmla="*/ 11 w 670"/>
                <a:gd name="T25" fmla="*/ 486 h 669"/>
                <a:gd name="T26" fmla="*/ 22 w 670"/>
                <a:gd name="T27" fmla="*/ 463 h 669"/>
                <a:gd name="T28" fmla="*/ 38 w 670"/>
                <a:gd name="T29" fmla="*/ 444 h 669"/>
                <a:gd name="T30" fmla="*/ 473 w 670"/>
                <a:gd name="T31" fmla="*/ 9 h 669"/>
                <a:gd name="T32" fmla="*/ 485 w 670"/>
                <a:gd name="T33" fmla="*/ 2 h 669"/>
                <a:gd name="T34" fmla="*/ 497 w 670"/>
                <a:gd name="T35" fmla="*/ 0 h 669"/>
                <a:gd name="T36" fmla="*/ 509 w 670"/>
                <a:gd name="T37" fmla="*/ 2 h 669"/>
                <a:gd name="T38" fmla="*/ 520 w 670"/>
                <a:gd name="T39" fmla="*/ 9 h 669"/>
                <a:gd name="T40" fmla="*/ 660 w 670"/>
                <a:gd name="T41" fmla="*/ 149 h 669"/>
                <a:gd name="T42" fmla="*/ 668 w 670"/>
                <a:gd name="T43" fmla="*/ 160 h 669"/>
                <a:gd name="T44" fmla="*/ 670 w 670"/>
                <a:gd name="T45" fmla="*/ 173 h 669"/>
                <a:gd name="T46" fmla="*/ 668 w 670"/>
                <a:gd name="T47" fmla="*/ 185 h 669"/>
                <a:gd name="T48" fmla="*/ 660 w 670"/>
                <a:gd name="T49" fmla="*/ 197 h 669"/>
                <a:gd name="T50" fmla="*/ 226 w 670"/>
                <a:gd name="T51" fmla="*/ 630 h 669"/>
                <a:gd name="T52" fmla="*/ 206 w 670"/>
                <a:gd name="T53" fmla="*/ 648 h 669"/>
                <a:gd name="T54" fmla="*/ 183 w 670"/>
                <a:gd name="T55" fmla="*/ 659 h 669"/>
                <a:gd name="T56" fmla="*/ 159 w 670"/>
                <a:gd name="T57" fmla="*/ 667 h 669"/>
                <a:gd name="T58" fmla="*/ 133 w 670"/>
                <a:gd name="T59" fmla="*/ 669 h 669"/>
                <a:gd name="T60" fmla="*/ 497 w 670"/>
                <a:gd name="T61" fmla="*/ 80 h 669"/>
                <a:gd name="T62" fmla="*/ 86 w 670"/>
                <a:gd name="T63" fmla="*/ 490 h 669"/>
                <a:gd name="T64" fmla="*/ 78 w 670"/>
                <a:gd name="T65" fmla="*/ 501 h 669"/>
                <a:gd name="T66" fmla="*/ 72 w 670"/>
                <a:gd name="T67" fmla="*/ 512 h 669"/>
                <a:gd name="T68" fmla="*/ 67 w 670"/>
                <a:gd name="T69" fmla="*/ 524 h 669"/>
                <a:gd name="T70" fmla="*/ 66 w 670"/>
                <a:gd name="T71" fmla="*/ 537 h 669"/>
                <a:gd name="T72" fmla="*/ 66 w 670"/>
                <a:gd name="T73" fmla="*/ 544 h 669"/>
                <a:gd name="T74" fmla="*/ 70 w 670"/>
                <a:gd name="T75" fmla="*/ 557 h 669"/>
                <a:gd name="T76" fmla="*/ 74 w 670"/>
                <a:gd name="T77" fmla="*/ 568 h 669"/>
                <a:gd name="T78" fmla="*/ 81 w 670"/>
                <a:gd name="T79" fmla="*/ 579 h 669"/>
                <a:gd name="T80" fmla="*/ 85 w 670"/>
                <a:gd name="T81" fmla="*/ 583 h 669"/>
                <a:gd name="T82" fmla="*/ 95 w 670"/>
                <a:gd name="T83" fmla="*/ 592 h 669"/>
                <a:gd name="T84" fmla="*/ 107 w 670"/>
                <a:gd name="T85" fmla="*/ 598 h 669"/>
                <a:gd name="T86" fmla="*/ 119 w 670"/>
                <a:gd name="T87" fmla="*/ 602 h 669"/>
                <a:gd name="T88" fmla="*/ 133 w 670"/>
                <a:gd name="T89" fmla="*/ 603 h 669"/>
                <a:gd name="T90" fmla="*/ 133 w 670"/>
                <a:gd name="T91" fmla="*/ 603 h 669"/>
                <a:gd name="T92" fmla="*/ 139 w 670"/>
                <a:gd name="T93" fmla="*/ 603 h 669"/>
                <a:gd name="T94" fmla="*/ 151 w 670"/>
                <a:gd name="T95" fmla="*/ 600 h 669"/>
                <a:gd name="T96" fmla="*/ 164 w 670"/>
                <a:gd name="T97" fmla="*/ 596 h 669"/>
                <a:gd name="T98" fmla="*/ 174 w 670"/>
                <a:gd name="T99" fmla="*/ 589 h 669"/>
                <a:gd name="T100" fmla="*/ 179 w 670"/>
                <a:gd name="T101" fmla="*/ 583 h 669"/>
                <a:gd name="T102" fmla="*/ 590 w 670"/>
                <a:gd name="T103" fmla="*/ 173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0" h="669">
                  <a:moveTo>
                    <a:pt x="133" y="669"/>
                  </a:moveTo>
                  <a:lnTo>
                    <a:pt x="133" y="669"/>
                  </a:lnTo>
                  <a:lnTo>
                    <a:pt x="133" y="669"/>
                  </a:lnTo>
                  <a:lnTo>
                    <a:pt x="133" y="669"/>
                  </a:lnTo>
                  <a:lnTo>
                    <a:pt x="119" y="668"/>
                  </a:lnTo>
                  <a:lnTo>
                    <a:pt x="106" y="667"/>
                  </a:lnTo>
                  <a:lnTo>
                    <a:pt x="93" y="663"/>
                  </a:lnTo>
                  <a:lnTo>
                    <a:pt x="82" y="659"/>
                  </a:lnTo>
                  <a:lnTo>
                    <a:pt x="70" y="654"/>
                  </a:lnTo>
                  <a:lnTo>
                    <a:pt x="59" y="648"/>
                  </a:lnTo>
                  <a:lnTo>
                    <a:pt x="49" y="639"/>
                  </a:lnTo>
                  <a:lnTo>
                    <a:pt x="38" y="630"/>
                  </a:lnTo>
                  <a:lnTo>
                    <a:pt x="38" y="630"/>
                  </a:lnTo>
                  <a:lnTo>
                    <a:pt x="30" y="621"/>
                  </a:lnTo>
                  <a:lnTo>
                    <a:pt x="22" y="610"/>
                  </a:lnTo>
                  <a:lnTo>
                    <a:pt x="16" y="599"/>
                  </a:lnTo>
                  <a:lnTo>
                    <a:pt x="11" y="588"/>
                  </a:lnTo>
                  <a:lnTo>
                    <a:pt x="5" y="575"/>
                  </a:lnTo>
                  <a:lnTo>
                    <a:pt x="2" y="563"/>
                  </a:lnTo>
                  <a:lnTo>
                    <a:pt x="1" y="550"/>
                  </a:lnTo>
                  <a:lnTo>
                    <a:pt x="0" y="537"/>
                  </a:lnTo>
                  <a:lnTo>
                    <a:pt x="0" y="537"/>
                  </a:lnTo>
                  <a:lnTo>
                    <a:pt x="1" y="524"/>
                  </a:lnTo>
                  <a:lnTo>
                    <a:pt x="2" y="511"/>
                  </a:lnTo>
                  <a:lnTo>
                    <a:pt x="5" y="499"/>
                  </a:lnTo>
                  <a:lnTo>
                    <a:pt x="11" y="486"/>
                  </a:lnTo>
                  <a:lnTo>
                    <a:pt x="16" y="475"/>
                  </a:lnTo>
                  <a:lnTo>
                    <a:pt x="22" y="463"/>
                  </a:lnTo>
                  <a:lnTo>
                    <a:pt x="30" y="453"/>
                  </a:lnTo>
                  <a:lnTo>
                    <a:pt x="38" y="444"/>
                  </a:lnTo>
                  <a:lnTo>
                    <a:pt x="473" y="9"/>
                  </a:lnTo>
                  <a:lnTo>
                    <a:pt x="473" y="9"/>
                  </a:lnTo>
                  <a:lnTo>
                    <a:pt x="478" y="5"/>
                  </a:lnTo>
                  <a:lnTo>
                    <a:pt x="485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2"/>
                  </a:lnTo>
                  <a:lnTo>
                    <a:pt x="515" y="5"/>
                  </a:lnTo>
                  <a:lnTo>
                    <a:pt x="520" y="9"/>
                  </a:lnTo>
                  <a:lnTo>
                    <a:pt x="660" y="149"/>
                  </a:lnTo>
                  <a:lnTo>
                    <a:pt x="660" y="149"/>
                  </a:lnTo>
                  <a:lnTo>
                    <a:pt x="665" y="154"/>
                  </a:lnTo>
                  <a:lnTo>
                    <a:pt x="668" y="160"/>
                  </a:lnTo>
                  <a:lnTo>
                    <a:pt x="670" y="167"/>
                  </a:lnTo>
                  <a:lnTo>
                    <a:pt x="670" y="173"/>
                  </a:lnTo>
                  <a:lnTo>
                    <a:pt x="670" y="179"/>
                  </a:lnTo>
                  <a:lnTo>
                    <a:pt x="668" y="185"/>
                  </a:lnTo>
                  <a:lnTo>
                    <a:pt x="665" y="191"/>
                  </a:lnTo>
                  <a:lnTo>
                    <a:pt x="660" y="197"/>
                  </a:lnTo>
                  <a:lnTo>
                    <a:pt x="226" y="630"/>
                  </a:lnTo>
                  <a:lnTo>
                    <a:pt x="226" y="630"/>
                  </a:lnTo>
                  <a:lnTo>
                    <a:pt x="216" y="639"/>
                  </a:lnTo>
                  <a:lnTo>
                    <a:pt x="206" y="648"/>
                  </a:lnTo>
                  <a:lnTo>
                    <a:pt x="195" y="654"/>
                  </a:lnTo>
                  <a:lnTo>
                    <a:pt x="183" y="659"/>
                  </a:lnTo>
                  <a:lnTo>
                    <a:pt x="171" y="664"/>
                  </a:lnTo>
                  <a:lnTo>
                    <a:pt x="159" y="667"/>
                  </a:lnTo>
                  <a:lnTo>
                    <a:pt x="145" y="668"/>
                  </a:lnTo>
                  <a:lnTo>
                    <a:pt x="133" y="669"/>
                  </a:lnTo>
                  <a:lnTo>
                    <a:pt x="133" y="669"/>
                  </a:lnTo>
                  <a:close/>
                  <a:moveTo>
                    <a:pt x="497" y="80"/>
                  </a:moveTo>
                  <a:lnTo>
                    <a:pt x="86" y="490"/>
                  </a:lnTo>
                  <a:lnTo>
                    <a:pt x="86" y="490"/>
                  </a:lnTo>
                  <a:lnTo>
                    <a:pt x="81" y="496"/>
                  </a:lnTo>
                  <a:lnTo>
                    <a:pt x="78" y="501"/>
                  </a:lnTo>
                  <a:lnTo>
                    <a:pt x="74" y="506"/>
                  </a:lnTo>
                  <a:lnTo>
                    <a:pt x="72" y="512"/>
                  </a:lnTo>
                  <a:lnTo>
                    <a:pt x="70" y="518"/>
                  </a:lnTo>
                  <a:lnTo>
                    <a:pt x="67" y="524"/>
                  </a:lnTo>
                  <a:lnTo>
                    <a:pt x="66" y="531"/>
                  </a:lnTo>
                  <a:lnTo>
                    <a:pt x="66" y="537"/>
                  </a:lnTo>
                  <a:lnTo>
                    <a:pt x="66" y="537"/>
                  </a:lnTo>
                  <a:lnTo>
                    <a:pt x="66" y="544"/>
                  </a:lnTo>
                  <a:lnTo>
                    <a:pt x="67" y="550"/>
                  </a:lnTo>
                  <a:lnTo>
                    <a:pt x="70" y="557"/>
                  </a:lnTo>
                  <a:lnTo>
                    <a:pt x="72" y="563"/>
                  </a:lnTo>
                  <a:lnTo>
                    <a:pt x="74" y="568"/>
                  </a:lnTo>
                  <a:lnTo>
                    <a:pt x="77" y="574"/>
                  </a:lnTo>
                  <a:lnTo>
                    <a:pt x="81" y="579"/>
                  </a:lnTo>
                  <a:lnTo>
                    <a:pt x="85" y="583"/>
                  </a:lnTo>
                  <a:lnTo>
                    <a:pt x="85" y="583"/>
                  </a:lnTo>
                  <a:lnTo>
                    <a:pt x="90" y="589"/>
                  </a:lnTo>
                  <a:lnTo>
                    <a:pt x="95" y="592"/>
                  </a:lnTo>
                  <a:lnTo>
                    <a:pt x="102" y="596"/>
                  </a:lnTo>
                  <a:lnTo>
                    <a:pt x="107" y="598"/>
                  </a:lnTo>
                  <a:lnTo>
                    <a:pt x="113" y="600"/>
                  </a:lnTo>
                  <a:lnTo>
                    <a:pt x="119" y="602"/>
                  </a:lnTo>
                  <a:lnTo>
                    <a:pt x="125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9" y="603"/>
                  </a:lnTo>
                  <a:lnTo>
                    <a:pt x="145" y="602"/>
                  </a:lnTo>
                  <a:lnTo>
                    <a:pt x="151" y="600"/>
                  </a:lnTo>
                  <a:lnTo>
                    <a:pt x="157" y="598"/>
                  </a:lnTo>
                  <a:lnTo>
                    <a:pt x="164" y="596"/>
                  </a:lnTo>
                  <a:lnTo>
                    <a:pt x="169" y="592"/>
                  </a:lnTo>
                  <a:lnTo>
                    <a:pt x="174" y="589"/>
                  </a:lnTo>
                  <a:lnTo>
                    <a:pt x="179" y="583"/>
                  </a:lnTo>
                  <a:lnTo>
                    <a:pt x="179" y="583"/>
                  </a:lnTo>
                  <a:lnTo>
                    <a:pt x="179" y="583"/>
                  </a:lnTo>
                  <a:lnTo>
                    <a:pt x="590" y="173"/>
                  </a:lnTo>
                  <a:lnTo>
                    <a:pt x="49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45">
              <a:extLst>
                <a:ext uri="{FF2B5EF4-FFF2-40B4-BE49-F238E27FC236}">
                  <a16:creationId xmlns:a16="http://schemas.microsoft.com/office/drawing/2014/main" id="{953BCF43-D38B-1796-2954-B434E4E2B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302" y="2343259"/>
              <a:ext cx="59360" cy="59360"/>
            </a:xfrm>
            <a:custGeom>
              <a:avLst/>
              <a:gdLst>
                <a:gd name="T0" fmla="*/ 314 w 347"/>
                <a:gd name="T1" fmla="*/ 346 h 346"/>
                <a:gd name="T2" fmla="*/ 314 w 347"/>
                <a:gd name="T3" fmla="*/ 346 h 346"/>
                <a:gd name="T4" fmla="*/ 308 w 347"/>
                <a:gd name="T5" fmla="*/ 345 h 346"/>
                <a:gd name="T6" fmla="*/ 302 w 347"/>
                <a:gd name="T7" fmla="*/ 343 h 346"/>
                <a:gd name="T8" fmla="*/ 296 w 347"/>
                <a:gd name="T9" fmla="*/ 340 h 346"/>
                <a:gd name="T10" fmla="*/ 290 w 347"/>
                <a:gd name="T11" fmla="*/ 336 h 346"/>
                <a:gd name="T12" fmla="*/ 11 w 347"/>
                <a:gd name="T13" fmla="*/ 56 h 346"/>
                <a:gd name="T14" fmla="*/ 11 w 347"/>
                <a:gd name="T15" fmla="*/ 56 h 346"/>
                <a:gd name="T16" fmla="*/ 6 w 347"/>
                <a:gd name="T17" fmla="*/ 51 h 346"/>
                <a:gd name="T18" fmla="*/ 4 w 347"/>
                <a:gd name="T19" fmla="*/ 45 h 346"/>
                <a:gd name="T20" fmla="*/ 1 w 347"/>
                <a:gd name="T21" fmla="*/ 39 h 346"/>
                <a:gd name="T22" fmla="*/ 0 w 347"/>
                <a:gd name="T23" fmla="*/ 33 h 346"/>
                <a:gd name="T24" fmla="*/ 1 w 347"/>
                <a:gd name="T25" fmla="*/ 27 h 346"/>
                <a:gd name="T26" fmla="*/ 4 w 347"/>
                <a:gd name="T27" fmla="*/ 21 h 346"/>
                <a:gd name="T28" fmla="*/ 6 w 347"/>
                <a:gd name="T29" fmla="*/ 14 h 346"/>
                <a:gd name="T30" fmla="*/ 11 w 347"/>
                <a:gd name="T31" fmla="*/ 9 h 346"/>
                <a:gd name="T32" fmla="*/ 11 w 347"/>
                <a:gd name="T33" fmla="*/ 9 h 346"/>
                <a:gd name="T34" fmla="*/ 16 w 347"/>
                <a:gd name="T35" fmla="*/ 5 h 346"/>
                <a:gd name="T36" fmla="*/ 21 w 347"/>
                <a:gd name="T37" fmla="*/ 2 h 346"/>
                <a:gd name="T38" fmla="*/ 27 w 347"/>
                <a:gd name="T39" fmla="*/ 0 h 346"/>
                <a:gd name="T40" fmla="*/ 34 w 347"/>
                <a:gd name="T41" fmla="*/ 0 h 346"/>
                <a:gd name="T42" fmla="*/ 40 w 347"/>
                <a:gd name="T43" fmla="*/ 0 h 346"/>
                <a:gd name="T44" fmla="*/ 46 w 347"/>
                <a:gd name="T45" fmla="*/ 2 h 346"/>
                <a:gd name="T46" fmla="*/ 52 w 347"/>
                <a:gd name="T47" fmla="*/ 5 h 346"/>
                <a:gd name="T48" fmla="*/ 57 w 347"/>
                <a:gd name="T49" fmla="*/ 9 h 346"/>
                <a:gd name="T50" fmla="*/ 338 w 347"/>
                <a:gd name="T51" fmla="*/ 289 h 346"/>
                <a:gd name="T52" fmla="*/ 338 w 347"/>
                <a:gd name="T53" fmla="*/ 289 h 346"/>
                <a:gd name="T54" fmla="*/ 342 w 347"/>
                <a:gd name="T55" fmla="*/ 295 h 346"/>
                <a:gd name="T56" fmla="*/ 345 w 347"/>
                <a:gd name="T57" fmla="*/ 301 h 346"/>
                <a:gd name="T58" fmla="*/ 346 w 347"/>
                <a:gd name="T59" fmla="*/ 307 h 346"/>
                <a:gd name="T60" fmla="*/ 347 w 347"/>
                <a:gd name="T61" fmla="*/ 313 h 346"/>
                <a:gd name="T62" fmla="*/ 346 w 347"/>
                <a:gd name="T63" fmla="*/ 319 h 346"/>
                <a:gd name="T64" fmla="*/ 345 w 347"/>
                <a:gd name="T65" fmla="*/ 326 h 346"/>
                <a:gd name="T66" fmla="*/ 342 w 347"/>
                <a:gd name="T67" fmla="*/ 331 h 346"/>
                <a:gd name="T68" fmla="*/ 338 w 347"/>
                <a:gd name="T69" fmla="*/ 336 h 346"/>
                <a:gd name="T70" fmla="*/ 338 w 347"/>
                <a:gd name="T71" fmla="*/ 336 h 346"/>
                <a:gd name="T72" fmla="*/ 333 w 347"/>
                <a:gd name="T73" fmla="*/ 340 h 346"/>
                <a:gd name="T74" fmla="*/ 326 w 347"/>
                <a:gd name="T75" fmla="*/ 343 h 346"/>
                <a:gd name="T76" fmla="*/ 320 w 347"/>
                <a:gd name="T77" fmla="*/ 345 h 346"/>
                <a:gd name="T78" fmla="*/ 314 w 347"/>
                <a:gd name="T79" fmla="*/ 346 h 346"/>
                <a:gd name="T80" fmla="*/ 314 w 347"/>
                <a:gd name="T8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7" h="346">
                  <a:moveTo>
                    <a:pt x="314" y="346"/>
                  </a:moveTo>
                  <a:lnTo>
                    <a:pt x="314" y="346"/>
                  </a:lnTo>
                  <a:lnTo>
                    <a:pt x="308" y="345"/>
                  </a:lnTo>
                  <a:lnTo>
                    <a:pt x="302" y="343"/>
                  </a:lnTo>
                  <a:lnTo>
                    <a:pt x="296" y="340"/>
                  </a:lnTo>
                  <a:lnTo>
                    <a:pt x="290" y="33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6" y="51"/>
                  </a:lnTo>
                  <a:lnTo>
                    <a:pt x="4" y="45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4" y="21"/>
                  </a:lnTo>
                  <a:lnTo>
                    <a:pt x="6" y="14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6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7" y="9"/>
                  </a:lnTo>
                  <a:lnTo>
                    <a:pt x="338" y="289"/>
                  </a:lnTo>
                  <a:lnTo>
                    <a:pt x="338" y="289"/>
                  </a:lnTo>
                  <a:lnTo>
                    <a:pt x="342" y="295"/>
                  </a:lnTo>
                  <a:lnTo>
                    <a:pt x="345" y="301"/>
                  </a:lnTo>
                  <a:lnTo>
                    <a:pt x="346" y="307"/>
                  </a:lnTo>
                  <a:lnTo>
                    <a:pt x="347" y="313"/>
                  </a:lnTo>
                  <a:lnTo>
                    <a:pt x="346" y="319"/>
                  </a:lnTo>
                  <a:lnTo>
                    <a:pt x="345" y="326"/>
                  </a:lnTo>
                  <a:lnTo>
                    <a:pt x="342" y="331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3" y="340"/>
                  </a:lnTo>
                  <a:lnTo>
                    <a:pt x="326" y="343"/>
                  </a:lnTo>
                  <a:lnTo>
                    <a:pt x="320" y="345"/>
                  </a:lnTo>
                  <a:lnTo>
                    <a:pt x="314" y="346"/>
                  </a:lnTo>
                  <a:lnTo>
                    <a:pt x="314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46">
              <a:extLst>
                <a:ext uri="{FF2B5EF4-FFF2-40B4-BE49-F238E27FC236}">
                  <a16:creationId xmlns:a16="http://schemas.microsoft.com/office/drawing/2014/main" id="{0040C9B4-3BD2-9C92-6142-52DD039D0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233" y="2249472"/>
              <a:ext cx="128217" cy="127030"/>
            </a:xfrm>
            <a:custGeom>
              <a:avLst/>
              <a:gdLst>
                <a:gd name="T0" fmla="*/ 48 w 755"/>
                <a:gd name="T1" fmla="*/ 753 h 753"/>
                <a:gd name="T2" fmla="*/ 0 w 755"/>
                <a:gd name="T3" fmla="*/ 707 h 753"/>
                <a:gd name="T4" fmla="*/ 707 w 755"/>
                <a:gd name="T5" fmla="*/ 0 h 753"/>
                <a:gd name="T6" fmla="*/ 755 w 755"/>
                <a:gd name="T7" fmla="*/ 48 h 753"/>
                <a:gd name="T8" fmla="*/ 48 w 755"/>
                <a:gd name="T9" fmla="*/ 753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5" h="753">
                  <a:moveTo>
                    <a:pt x="48" y="753"/>
                  </a:moveTo>
                  <a:lnTo>
                    <a:pt x="0" y="707"/>
                  </a:lnTo>
                  <a:lnTo>
                    <a:pt x="707" y="0"/>
                  </a:lnTo>
                  <a:lnTo>
                    <a:pt x="755" y="48"/>
                  </a:lnTo>
                  <a:lnTo>
                    <a:pt x="48" y="7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47">
              <a:extLst>
                <a:ext uri="{FF2B5EF4-FFF2-40B4-BE49-F238E27FC236}">
                  <a16:creationId xmlns:a16="http://schemas.microsoft.com/office/drawing/2014/main" id="{D08260DA-4F67-0A4D-108A-70A7B9463B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6706" y="2205545"/>
              <a:ext cx="67671" cy="66483"/>
            </a:xfrm>
            <a:custGeom>
              <a:avLst/>
              <a:gdLst>
                <a:gd name="T0" fmla="*/ 197 w 399"/>
                <a:gd name="T1" fmla="*/ 392 h 392"/>
                <a:gd name="T2" fmla="*/ 197 w 399"/>
                <a:gd name="T3" fmla="*/ 392 h 392"/>
                <a:gd name="T4" fmla="*/ 189 w 399"/>
                <a:gd name="T5" fmla="*/ 392 h 392"/>
                <a:gd name="T6" fmla="*/ 183 w 399"/>
                <a:gd name="T7" fmla="*/ 390 h 392"/>
                <a:gd name="T8" fmla="*/ 178 w 399"/>
                <a:gd name="T9" fmla="*/ 387 h 392"/>
                <a:gd name="T10" fmla="*/ 173 w 399"/>
                <a:gd name="T11" fmla="*/ 383 h 392"/>
                <a:gd name="T12" fmla="*/ 9 w 399"/>
                <a:gd name="T13" fmla="*/ 219 h 392"/>
                <a:gd name="T14" fmla="*/ 9 w 399"/>
                <a:gd name="T15" fmla="*/ 219 h 392"/>
                <a:gd name="T16" fmla="*/ 5 w 399"/>
                <a:gd name="T17" fmla="*/ 214 h 392"/>
                <a:gd name="T18" fmla="*/ 1 w 399"/>
                <a:gd name="T19" fmla="*/ 207 h 392"/>
                <a:gd name="T20" fmla="*/ 0 w 399"/>
                <a:gd name="T21" fmla="*/ 201 h 392"/>
                <a:gd name="T22" fmla="*/ 0 w 399"/>
                <a:gd name="T23" fmla="*/ 193 h 392"/>
                <a:gd name="T24" fmla="*/ 0 w 399"/>
                <a:gd name="T25" fmla="*/ 193 h 392"/>
                <a:gd name="T26" fmla="*/ 1 w 399"/>
                <a:gd name="T27" fmla="*/ 186 h 392"/>
                <a:gd name="T28" fmla="*/ 4 w 399"/>
                <a:gd name="T29" fmla="*/ 179 h 392"/>
                <a:gd name="T30" fmla="*/ 8 w 399"/>
                <a:gd name="T31" fmla="*/ 174 h 392"/>
                <a:gd name="T32" fmla="*/ 14 w 399"/>
                <a:gd name="T33" fmla="*/ 169 h 392"/>
                <a:gd name="T34" fmla="*/ 248 w 399"/>
                <a:gd name="T35" fmla="*/ 6 h 392"/>
                <a:gd name="T36" fmla="*/ 248 w 399"/>
                <a:gd name="T37" fmla="*/ 6 h 392"/>
                <a:gd name="T38" fmla="*/ 253 w 399"/>
                <a:gd name="T39" fmla="*/ 3 h 392"/>
                <a:gd name="T40" fmla="*/ 259 w 399"/>
                <a:gd name="T41" fmla="*/ 1 h 392"/>
                <a:gd name="T42" fmla="*/ 264 w 399"/>
                <a:gd name="T43" fmla="*/ 0 h 392"/>
                <a:gd name="T44" fmla="*/ 270 w 399"/>
                <a:gd name="T45" fmla="*/ 0 h 392"/>
                <a:gd name="T46" fmla="*/ 275 w 399"/>
                <a:gd name="T47" fmla="*/ 1 h 392"/>
                <a:gd name="T48" fmla="*/ 281 w 399"/>
                <a:gd name="T49" fmla="*/ 3 h 392"/>
                <a:gd name="T50" fmla="*/ 286 w 399"/>
                <a:gd name="T51" fmla="*/ 6 h 392"/>
                <a:gd name="T52" fmla="*/ 290 w 399"/>
                <a:gd name="T53" fmla="*/ 10 h 392"/>
                <a:gd name="T54" fmla="*/ 389 w 399"/>
                <a:gd name="T55" fmla="*/ 110 h 392"/>
                <a:gd name="T56" fmla="*/ 389 w 399"/>
                <a:gd name="T57" fmla="*/ 110 h 392"/>
                <a:gd name="T58" fmla="*/ 393 w 399"/>
                <a:gd name="T59" fmla="*/ 114 h 392"/>
                <a:gd name="T60" fmla="*/ 396 w 399"/>
                <a:gd name="T61" fmla="*/ 119 h 392"/>
                <a:gd name="T62" fmla="*/ 399 w 399"/>
                <a:gd name="T63" fmla="*/ 124 h 392"/>
                <a:gd name="T64" fmla="*/ 399 w 399"/>
                <a:gd name="T65" fmla="*/ 130 h 392"/>
                <a:gd name="T66" fmla="*/ 399 w 399"/>
                <a:gd name="T67" fmla="*/ 135 h 392"/>
                <a:gd name="T68" fmla="*/ 397 w 399"/>
                <a:gd name="T69" fmla="*/ 142 h 392"/>
                <a:gd name="T70" fmla="*/ 395 w 399"/>
                <a:gd name="T71" fmla="*/ 147 h 392"/>
                <a:gd name="T72" fmla="*/ 392 w 399"/>
                <a:gd name="T73" fmla="*/ 152 h 392"/>
                <a:gd name="T74" fmla="*/ 223 w 399"/>
                <a:gd name="T75" fmla="*/ 380 h 392"/>
                <a:gd name="T76" fmla="*/ 223 w 399"/>
                <a:gd name="T77" fmla="*/ 380 h 392"/>
                <a:gd name="T78" fmla="*/ 217 w 399"/>
                <a:gd name="T79" fmla="*/ 385 h 392"/>
                <a:gd name="T80" fmla="*/ 212 w 399"/>
                <a:gd name="T81" fmla="*/ 389 h 392"/>
                <a:gd name="T82" fmla="*/ 206 w 399"/>
                <a:gd name="T83" fmla="*/ 391 h 392"/>
                <a:gd name="T84" fmla="*/ 199 w 399"/>
                <a:gd name="T85" fmla="*/ 392 h 392"/>
                <a:gd name="T86" fmla="*/ 199 w 399"/>
                <a:gd name="T87" fmla="*/ 392 h 392"/>
                <a:gd name="T88" fmla="*/ 197 w 399"/>
                <a:gd name="T89" fmla="*/ 392 h 392"/>
                <a:gd name="T90" fmla="*/ 197 w 399"/>
                <a:gd name="T91" fmla="*/ 392 h 392"/>
                <a:gd name="T92" fmla="*/ 84 w 399"/>
                <a:gd name="T93" fmla="*/ 201 h 392"/>
                <a:gd name="T94" fmla="*/ 193 w 399"/>
                <a:gd name="T95" fmla="*/ 309 h 392"/>
                <a:gd name="T96" fmla="*/ 322 w 399"/>
                <a:gd name="T97" fmla="*/ 135 h 392"/>
                <a:gd name="T98" fmla="*/ 263 w 399"/>
                <a:gd name="T99" fmla="*/ 77 h 392"/>
                <a:gd name="T100" fmla="*/ 84 w 399"/>
                <a:gd name="T101" fmla="*/ 20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9" h="392">
                  <a:moveTo>
                    <a:pt x="197" y="392"/>
                  </a:moveTo>
                  <a:lnTo>
                    <a:pt x="197" y="392"/>
                  </a:lnTo>
                  <a:lnTo>
                    <a:pt x="189" y="392"/>
                  </a:lnTo>
                  <a:lnTo>
                    <a:pt x="183" y="390"/>
                  </a:lnTo>
                  <a:lnTo>
                    <a:pt x="178" y="387"/>
                  </a:lnTo>
                  <a:lnTo>
                    <a:pt x="173" y="383"/>
                  </a:lnTo>
                  <a:lnTo>
                    <a:pt x="9" y="219"/>
                  </a:lnTo>
                  <a:lnTo>
                    <a:pt x="9" y="219"/>
                  </a:lnTo>
                  <a:lnTo>
                    <a:pt x="5" y="214"/>
                  </a:lnTo>
                  <a:lnTo>
                    <a:pt x="1" y="207"/>
                  </a:lnTo>
                  <a:lnTo>
                    <a:pt x="0" y="201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1" y="186"/>
                  </a:lnTo>
                  <a:lnTo>
                    <a:pt x="4" y="179"/>
                  </a:lnTo>
                  <a:lnTo>
                    <a:pt x="8" y="174"/>
                  </a:lnTo>
                  <a:lnTo>
                    <a:pt x="14" y="169"/>
                  </a:lnTo>
                  <a:lnTo>
                    <a:pt x="248" y="6"/>
                  </a:lnTo>
                  <a:lnTo>
                    <a:pt x="248" y="6"/>
                  </a:lnTo>
                  <a:lnTo>
                    <a:pt x="253" y="3"/>
                  </a:lnTo>
                  <a:lnTo>
                    <a:pt x="259" y="1"/>
                  </a:lnTo>
                  <a:lnTo>
                    <a:pt x="264" y="0"/>
                  </a:lnTo>
                  <a:lnTo>
                    <a:pt x="270" y="0"/>
                  </a:lnTo>
                  <a:lnTo>
                    <a:pt x="275" y="1"/>
                  </a:lnTo>
                  <a:lnTo>
                    <a:pt x="281" y="3"/>
                  </a:lnTo>
                  <a:lnTo>
                    <a:pt x="286" y="6"/>
                  </a:lnTo>
                  <a:lnTo>
                    <a:pt x="290" y="10"/>
                  </a:lnTo>
                  <a:lnTo>
                    <a:pt x="389" y="110"/>
                  </a:lnTo>
                  <a:lnTo>
                    <a:pt x="389" y="110"/>
                  </a:lnTo>
                  <a:lnTo>
                    <a:pt x="393" y="114"/>
                  </a:lnTo>
                  <a:lnTo>
                    <a:pt x="396" y="119"/>
                  </a:lnTo>
                  <a:lnTo>
                    <a:pt x="399" y="124"/>
                  </a:lnTo>
                  <a:lnTo>
                    <a:pt x="399" y="130"/>
                  </a:lnTo>
                  <a:lnTo>
                    <a:pt x="399" y="135"/>
                  </a:lnTo>
                  <a:lnTo>
                    <a:pt x="397" y="142"/>
                  </a:lnTo>
                  <a:lnTo>
                    <a:pt x="395" y="147"/>
                  </a:lnTo>
                  <a:lnTo>
                    <a:pt x="392" y="152"/>
                  </a:lnTo>
                  <a:lnTo>
                    <a:pt x="223" y="380"/>
                  </a:lnTo>
                  <a:lnTo>
                    <a:pt x="223" y="380"/>
                  </a:lnTo>
                  <a:lnTo>
                    <a:pt x="217" y="385"/>
                  </a:lnTo>
                  <a:lnTo>
                    <a:pt x="212" y="389"/>
                  </a:lnTo>
                  <a:lnTo>
                    <a:pt x="206" y="391"/>
                  </a:lnTo>
                  <a:lnTo>
                    <a:pt x="199" y="392"/>
                  </a:lnTo>
                  <a:lnTo>
                    <a:pt x="199" y="392"/>
                  </a:lnTo>
                  <a:lnTo>
                    <a:pt x="197" y="392"/>
                  </a:lnTo>
                  <a:lnTo>
                    <a:pt x="197" y="392"/>
                  </a:lnTo>
                  <a:close/>
                  <a:moveTo>
                    <a:pt x="84" y="201"/>
                  </a:moveTo>
                  <a:lnTo>
                    <a:pt x="193" y="309"/>
                  </a:lnTo>
                  <a:lnTo>
                    <a:pt x="322" y="135"/>
                  </a:lnTo>
                  <a:lnTo>
                    <a:pt x="263" y="77"/>
                  </a:lnTo>
                  <a:lnTo>
                    <a:pt x="84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48">
              <a:extLst>
                <a:ext uri="{FF2B5EF4-FFF2-40B4-BE49-F238E27FC236}">
                  <a16:creationId xmlns:a16="http://schemas.microsoft.com/office/drawing/2014/main" id="{C1D69105-C2E2-1FE0-4208-BA3A538C5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3" y="2205545"/>
              <a:ext cx="137715" cy="137714"/>
            </a:xfrm>
            <a:custGeom>
              <a:avLst/>
              <a:gdLst>
                <a:gd name="T0" fmla="*/ 372 w 811"/>
                <a:gd name="T1" fmla="*/ 586 h 812"/>
                <a:gd name="T2" fmla="*/ 290 w 811"/>
                <a:gd name="T3" fmla="*/ 596 h 812"/>
                <a:gd name="T4" fmla="*/ 210 w 811"/>
                <a:gd name="T5" fmla="*/ 583 h 812"/>
                <a:gd name="T6" fmla="*/ 136 w 811"/>
                <a:gd name="T7" fmla="*/ 549 h 812"/>
                <a:gd name="T8" fmla="*/ 87 w 811"/>
                <a:gd name="T9" fmla="*/ 510 h 812"/>
                <a:gd name="T10" fmla="*/ 34 w 811"/>
                <a:gd name="T11" fmla="*/ 438 h 812"/>
                <a:gd name="T12" fmla="*/ 5 w 811"/>
                <a:gd name="T13" fmla="*/ 358 h 812"/>
                <a:gd name="T14" fmla="*/ 1 w 811"/>
                <a:gd name="T15" fmla="*/ 272 h 812"/>
                <a:gd name="T16" fmla="*/ 23 w 811"/>
                <a:gd name="T17" fmla="*/ 186 h 812"/>
                <a:gd name="T18" fmla="*/ 39 w 811"/>
                <a:gd name="T19" fmla="*/ 170 h 812"/>
                <a:gd name="T20" fmla="*/ 62 w 811"/>
                <a:gd name="T21" fmla="*/ 168 h 812"/>
                <a:gd name="T22" fmla="*/ 290 w 811"/>
                <a:gd name="T23" fmla="*/ 293 h 812"/>
                <a:gd name="T24" fmla="*/ 170 w 811"/>
                <a:gd name="T25" fmla="*/ 69 h 812"/>
                <a:gd name="T26" fmla="*/ 167 w 811"/>
                <a:gd name="T27" fmla="*/ 47 h 812"/>
                <a:gd name="T28" fmla="*/ 186 w 811"/>
                <a:gd name="T29" fmla="*/ 24 h 812"/>
                <a:gd name="T30" fmla="*/ 249 w 811"/>
                <a:gd name="T31" fmla="*/ 4 h 812"/>
                <a:gd name="T32" fmla="*/ 335 w 811"/>
                <a:gd name="T33" fmla="*/ 2 h 812"/>
                <a:gd name="T34" fmla="*/ 417 w 811"/>
                <a:gd name="T35" fmla="*/ 25 h 812"/>
                <a:gd name="T36" fmla="*/ 491 w 811"/>
                <a:gd name="T37" fmla="*/ 71 h 812"/>
                <a:gd name="T38" fmla="*/ 535 w 811"/>
                <a:gd name="T39" fmla="*/ 119 h 812"/>
                <a:gd name="T40" fmla="*/ 575 w 811"/>
                <a:gd name="T41" fmla="*/ 190 h 812"/>
                <a:gd name="T42" fmla="*/ 594 w 811"/>
                <a:gd name="T43" fmla="*/ 270 h 812"/>
                <a:gd name="T44" fmla="*/ 590 w 811"/>
                <a:gd name="T45" fmla="*/ 352 h 812"/>
                <a:gd name="T46" fmla="*/ 765 w 811"/>
                <a:gd name="T47" fmla="*/ 671 h 812"/>
                <a:gd name="T48" fmla="*/ 511 w 811"/>
                <a:gd name="T49" fmla="*/ 416 h 812"/>
                <a:gd name="T50" fmla="*/ 508 w 811"/>
                <a:gd name="T51" fmla="*/ 397 h 812"/>
                <a:gd name="T52" fmla="*/ 516 w 811"/>
                <a:gd name="T53" fmla="*/ 371 h 812"/>
                <a:gd name="T54" fmla="*/ 529 w 811"/>
                <a:gd name="T55" fmla="*/ 303 h 812"/>
                <a:gd name="T56" fmla="*/ 521 w 811"/>
                <a:gd name="T57" fmla="*/ 237 h 812"/>
                <a:gd name="T58" fmla="*/ 494 w 811"/>
                <a:gd name="T59" fmla="*/ 175 h 812"/>
                <a:gd name="T60" fmla="*/ 461 w 811"/>
                <a:gd name="T61" fmla="*/ 133 h 812"/>
                <a:gd name="T62" fmla="*/ 416 w 811"/>
                <a:gd name="T63" fmla="*/ 98 h 812"/>
                <a:gd name="T64" fmla="*/ 365 w 811"/>
                <a:gd name="T65" fmla="*/ 76 h 812"/>
                <a:gd name="T66" fmla="*/ 313 w 811"/>
                <a:gd name="T67" fmla="*/ 66 h 812"/>
                <a:gd name="T68" fmla="*/ 258 w 811"/>
                <a:gd name="T69" fmla="*/ 70 h 812"/>
                <a:gd name="T70" fmla="*/ 353 w 811"/>
                <a:gd name="T71" fmla="*/ 182 h 812"/>
                <a:gd name="T72" fmla="*/ 356 w 811"/>
                <a:gd name="T73" fmla="*/ 326 h 812"/>
                <a:gd name="T74" fmla="*/ 346 w 811"/>
                <a:gd name="T75" fmla="*/ 349 h 812"/>
                <a:gd name="T76" fmla="*/ 323 w 811"/>
                <a:gd name="T77" fmla="*/ 359 h 812"/>
                <a:gd name="T78" fmla="*/ 178 w 811"/>
                <a:gd name="T79" fmla="*/ 356 h 812"/>
                <a:gd name="T80" fmla="*/ 70 w 811"/>
                <a:gd name="T81" fmla="*/ 259 h 812"/>
                <a:gd name="T82" fmla="*/ 66 w 811"/>
                <a:gd name="T83" fmla="*/ 314 h 812"/>
                <a:gd name="T84" fmla="*/ 76 w 811"/>
                <a:gd name="T85" fmla="*/ 368 h 812"/>
                <a:gd name="T86" fmla="*/ 98 w 811"/>
                <a:gd name="T87" fmla="*/ 419 h 812"/>
                <a:gd name="T88" fmla="*/ 133 w 811"/>
                <a:gd name="T89" fmla="*/ 463 h 812"/>
                <a:gd name="T90" fmla="*/ 174 w 811"/>
                <a:gd name="T91" fmla="*/ 495 h 812"/>
                <a:gd name="T92" fmla="*/ 236 w 811"/>
                <a:gd name="T93" fmla="*/ 522 h 812"/>
                <a:gd name="T94" fmla="*/ 303 w 811"/>
                <a:gd name="T95" fmla="*/ 529 h 812"/>
                <a:gd name="T96" fmla="*/ 370 w 811"/>
                <a:gd name="T97" fmla="*/ 517 h 812"/>
                <a:gd name="T98" fmla="*/ 397 w 811"/>
                <a:gd name="T99" fmla="*/ 509 h 812"/>
                <a:gd name="T100" fmla="*/ 416 w 811"/>
                <a:gd name="T101" fmla="*/ 512 h 812"/>
                <a:gd name="T102" fmla="*/ 625 w 811"/>
                <a:gd name="T103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1" h="812">
                  <a:moveTo>
                    <a:pt x="625" y="812"/>
                  </a:moveTo>
                  <a:lnTo>
                    <a:pt x="392" y="580"/>
                  </a:lnTo>
                  <a:lnTo>
                    <a:pt x="392" y="580"/>
                  </a:lnTo>
                  <a:lnTo>
                    <a:pt x="372" y="586"/>
                  </a:lnTo>
                  <a:lnTo>
                    <a:pt x="352" y="591"/>
                  </a:lnTo>
                  <a:lnTo>
                    <a:pt x="331" y="594"/>
                  </a:lnTo>
                  <a:lnTo>
                    <a:pt x="310" y="596"/>
                  </a:lnTo>
                  <a:lnTo>
                    <a:pt x="290" y="596"/>
                  </a:lnTo>
                  <a:lnTo>
                    <a:pt x="269" y="595"/>
                  </a:lnTo>
                  <a:lnTo>
                    <a:pt x="249" y="593"/>
                  </a:lnTo>
                  <a:lnTo>
                    <a:pt x="230" y="588"/>
                  </a:lnTo>
                  <a:lnTo>
                    <a:pt x="210" y="583"/>
                  </a:lnTo>
                  <a:lnTo>
                    <a:pt x="190" y="577"/>
                  </a:lnTo>
                  <a:lnTo>
                    <a:pt x="172" y="569"/>
                  </a:lnTo>
                  <a:lnTo>
                    <a:pt x="153" y="559"/>
                  </a:lnTo>
                  <a:lnTo>
                    <a:pt x="136" y="549"/>
                  </a:lnTo>
                  <a:lnTo>
                    <a:pt x="118" y="538"/>
                  </a:lnTo>
                  <a:lnTo>
                    <a:pt x="102" y="524"/>
                  </a:lnTo>
                  <a:lnTo>
                    <a:pt x="87" y="510"/>
                  </a:lnTo>
                  <a:lnTo>
                    <a:pt x="87" y="510"/>
                  </a:lnTo>
                  <a:lnTo>
                    <a:pt x="71" y="493"/>
                  </a:lnTo>
                  <a:lnTo>
                    <a:pt x="58" y="476"/>
                  </a:lnTo>
                  <a:lnTo>
                    <a:pt x="46" y="458"/>
                  </a:lnTo>
                  <a:lnTo>
                    <a:pt x="34" y="438"/>
                  </a:lnTo>
                  <a:lnTo>
                    <a:pt x="25" y="419"/>
                  </a:lnTo>
                  <a:lnTo>
                    <a:pt x="17" y="399"/>
                  </a:lnTo>
                  <a:lnTo>
                    <a:pt x="10" y="379"/>
                  </a:lnTo>
                  <a:lnTo>
                    <a:pt x="5" y="358"/>
                  </a:lnTo>
                  <a:lnTo>
                    <a:pt x="2" y="336"/>
                  </a:lnTo>
                  <a:lnTo>
                    <a:pt x="0" y="314"/>
                  </a:lnTo>
                  <a:lnTo>
                    <a:pt x="0" y="293"/>
                  </a:lnTo>
                  <a:lnTo>
                    <a:pt x="1" y="272"/>
                  </a:lnTo>
                  <a:lnTo>
                    <a:pt x="4" y="250"/>
                  </a:lnTo>
                  <a:lnTo>
                    <a:pt x="9" y="229"/>
                  </a:lnTo>
                  <a:lnTo>
                    <a:pt x="16" y="207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7" y="179"/>
                  </a:lnTo>
                  <a:lnTo>
                    <a:pt x="33" y="174"/>
                  </a:lnTo>
                  <a:lnTo>
                    <a:pt x="39" y="170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55" y="165"/>
                  </a:lnTo>
                  <a:lnTo>
                    <a:pt x="62" y="168"/>
                  </a:lnTo>
                  <a:lnTo>
                    <a:pt x="69" y="170"/>
                  </a:lnTo>
                  <a:lnTo>
                    <a:pt x="77" y="175"/>
                  </a:lnTo>
                  <a:lnTo>
                    <a:pt x="203" y="293"/>
                  </a:lnTo>
                  <a:lnTo>
                    <a:pt x="290" y="293"/>
                  </a:lnTo>
                  <a:lnTo>
                    <a:pt x="290" y="206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0" y="69"/>
                  </a:lnTo>
                  <a:lnTo>
                    <a:pt x="167" y="62"/>
                  </a:lnTo>
                  <a:lnTo>
                    <a:pt x="166" y="55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70" y="39"/>
                  </a:lnTo>
                  <a:lnTo>
                    <a:pt x="174" y="33"/>
                  </a:lnTo>
                  <a:lnTo>
                    <a:pt x="179" y="27"/>
                  </a:lnTo>
                  <a:lnTo>
                    <a:pt x="186" y="24"/>
                  </a:lnTo>
                  <a:lnTo>
                    <a:pt x="186" y="24"/>
                  </a:lnTo>
                  <a:lnTo>
                    <a:pt x="207" y="16"/>
                  </a:lnTo>
                  <a:lnTo>
                    <a:pt x="229" y="9"/>
                  </a:lnTo>
                  <a:lnTo>
                    <a:pt x="249" y="4"/>
                  </a:lnTo>
                  <a:lnTo>
                    <a:pt x="271" y="1"/>
                  </a:lnTo>
                  <a:lnTo>
                    <a:pt x="293" y="0"/>
                  </a:lnTo>
                  <a:lnTo>
                    <a:pt x="314" y="0"/>
                  </a:lnTo>
                  <a:lnTo>
                    <a:pt x="335" y="2"/>
                  </a:lnTo>
                  <a:lnTo>
                    <a:pt x="356" y="5"/>
                  </a:lnTo>
                  <a:lnTo>
                    <a:pt x="377" y="10"/>
                  </a:lnTo>
                  <a:lnTo>
                    <a:pt x="397" y="17"/>
                  </a:lnTo>
                  <a:lnTo>
                    <a:pt x="417" y="25"/>
                  </a:lnTo>
                  <a:lnTo>
                    <a:pt x="437" y="34"/>
                  </a:lnTo>
                  <a:lnTo>
                    <a:pt x="455" y="45"/>
                  </a:lnTo>
                  <a:lnTo>
                    <a:pt x="474" y="58"/>
                  </a:lnTo>
                  <a:lnTo>
                    <a:pt x="491" y="71"/>
                  </a:lnTo>
                  <a:lnTo>
                    <a:pt x="507" y="87"/>
                  </a:lnTo>
                  <a:lnTo>
                    <a:pt x="507" y="87"/>
                  </a:lnTo>
                  <a:lnTo>
                    <a:pt x="522" y="102"/>
                  </a:lnTo>
                  <a:lnTo>
                    <a:pt x="535" y="119"/>
                  </a:lnTo>
                  <a:lnTo>
                    <a:pt x="547" y="136"/>
                  </a:lnTo>
                  <a:lnTo>
                    <a:pt x="558" y="153"/>
                  </a:lnTo>
                  <a:lnTo>
                    <a:pt x="567" y="172"/>
                  </a:lnTo>
                  <a:lnTo>
                    <a:pt x="575" y="190"/>
                  </a:lnTo>
                  <a:lnTo>
                    <a:pt x="582" y="210"/>
                  </a:lnTo>
                  <a:lnTo>
                    <a:pt x="587" y="230"/>
                  </a:lnTo>
                  <a:lnTo>
                    <a:pt x="591" y="249"/>
                  </a:lnTo>
                  <a:lnTo>
                    <a:pt x="594" y="270"/>
                  </a:lnTo>
                  <a:lnTo>
                    <a:pt x="595" y="291"/>
                  </a:lnTo>
                  <a:lnTo>
                    <a:pt x="594" y="310"/>
                  </a:lnTo>
                  <a:lnTo>
                    <a:pt x="593" y="331"/>
                  </a:lnTo>
                  <a:lnTo>
                    <a:pt x="590" y="352"/>
                  </a:lnTo>
                  <a:lnTo>
                    <a:pt x="585" y="372"/>
                  </a:lnTo>
                  <a:lnTo>
                    <a:pt x="580" y="392"/>
                  </a:lnTo>
                  <a:lnTo>
                    <a:pt x="811" y="625"/>
                  </a:lnTo>
                  <a:lnTo>
                    <a:pt x="765" y="671"/>
                  </a:lnTo>
                  <a:lnTo>
                    <a:pt x="517" y="424"/>
                  </a:lnTo>
                  <a:lnTo>
                    <a:pt x="517" y="424"/>
                  </a:lnTo>
                  <a:lnTo>
                    <a:pt x="514" y="420"/>
                  </a:lnTo>
                  <a:lnTo>
                    <a:pt x="511" y="416"/>
                  </a:lnTo>
                  <a:lnTo>
                    <a:pt x="509" y="412"/>
                  </a:lnTo>
                  <a:lnTo>
                    <a:pt x="508" y="406"/>
                  </a:lnTo>
                  <a:lnTo>
                    <a:pt x="507" y="402"/>
                  </a:lnTo>
                  <a:lnTo>
                    <a:pt x="508" y="397"/>
                  </a:lnTo>
                  <a:lnTo>
                    <a:pt x="508" y="392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6" y="371"/>
                  </a:lnTo>
                  <a:lnTo>
                    <a:pt x="522" y="355"/>
                  </a:lnTo>
                  <a:lnTo>
                    <a:pt x="525" y="337"/>
                  </a:lnTo>
                  <a:lnTo>
                    <a:pt x="528" y="321"/>
                  </a:lnTo>
                  <a:lnTo>
                    <a:pt x="529" y="303"/>
                  </a:lnTo>
                  <a:lnTo>
                    <a:pt x="529" y="286"/>
                  </a:lnTo>
                  <a:lnTo>
                    <a:pt x="527" y="270"/>
                  </a:lnTo>
                  <a:lnTo>
                    <a:pt x="525" y="253"/>
                  </a:lnTo>
                  <a:lnTo>
                    <a:pt x="521" y="237"/>
                  </a:lnTo>
                  <a:lnTo>
                    <a:pt x="515" y="220"/>
                  </a:lnTo>
                  <a:lnTo>
                    <a:pt x="509" y="205"/>
                  </a:lnTo>
                  <a:lnTo>
                    <a:pt x="502" y="189"/>
                  </a:lnTo>
                  <a:lnTo>
                    <a:pt x="494" y="175"/>
                  </a:lnTo>
                  <a:lnTo>
                    <a:pt x="483" y="160"/>
                  </a:lnTo>
                  <a:lnTo>
                    <a:pt x="473" y="147"/>
                  </a:lnTo>
                  <a:lnTo>
                    <a:pt x="461" y="133"/>
                  </a:lnTo>
                  <a:lnTo>
                    <a:pt x="461" y="133"/>
                  </a:lnTo>
                  <a:lnTo>
                    <a:pt x="450" y="124"/>
                  </a:lnTo>
                  <a:lnTo>
                    <a:pt x="439" y="115"/>
                  </a:lnTo>
                  <a:lnTo>
                    <a:pt x="427" y="107"/>
                  </a:lnTo>
                  <a:lnTo>
                    <a:pt x="416" y="98"/>
                  </a:lnTo>
                  <a:lnTo>
                    <a:pt x="404" y="91"/>
                  </a:lnTo>
                  <a:lnTo>
                    <a:pt x="391" y="86"/>
                  </a:lnTo>
                  <a:lnTo>
                    <a:pt x="379" y="81"/>
                  </a:lnTo>
                  <a:lnTo>
                    <a:pt x="365" y="76"/>
                  </a:lnTo>
                  <a:lnTo>
                    <a:pt x="353" y="72"/>
                  </a:lnTo>
                  <a:lnTo>
                    <a:pt x="339" y="69"/>
                  </a:lnTo>
                  <a:lnTo>
                    <a:pt x="326" y="67"/>
                  </a:lnTo>
                  <a:lnTo>
                    <a:pt x="313" y="66"/>
                  </a:lnTo>
                  <a:lnTo>
                    <a:pt x="299" y="66"/>
                  </a:lnTo>
                  <a:lnTo>
                    <a:pt x="285" y="66"/>
                  </a:lnTo>
                  <a:lnTo>
                    <a:pt x="271" y="68"/>
                  </a:lnTo>
                  <a:lnTo>
                    <a:pt x="258" y="70"/>
                  </a:lnTo>
                  <a:lnTo>
                    <a:pt x="347" y="172"/>
                  </a:lnTo>
                  <a:lnTo>
                    <a:pt x="347" y="172"/>
                  </a:lnTo>
                  <a:lnTo>
                    <a:pt x="351" y="176"/>
                  </a:lnTo>
                  <a:lnTo>
                    <a:pt x="353" y="182"/>
                  </a:lnTo>
                  <a:lnTo>
                    <a:pt x="355" y="187"/>
                  </a:lnTo>
                  <a:lnTo>
                    <a:pt x="356" y="193"/>
                  </a:lnTo>
                  <a:lnTo>
                    <a:pt x="356" y="326"/>
                  </a:lnTo>
                  <a:lnTo>
                    <a:pt x="356" y="326"/>
                  </a:lnTo>
                  <a:lnTo>
                    <a:pt x="355" y="332"/>
                  </a:lnTo>
                  <a:lnTo>
                    <a:pt x="353" y="338"/>
                  </a:lnTo>
                  <a:lnTo>
                    <a:pt x="350" y="344"/>
                  </a:lnTo>
                  <a:lnTo>
                    <a:pt x="346" y="349"/>
                  </a:lnTo>
                  <a:lnTo>
                    <a:pt x="340" y="353"/>
                  </a:lnTo>
                  <a:lnTo>
                    <a:pt x="335" y="356"/>
                  </a:lnTo>
                  <a:lnTo>
                    <a:pt x="329" y="358"/>
                  </a:lnTo>
                  <a:lnTo>
                    <a:pt x="323" y="359"/>
                  </a:lnTo>
                  <a:lnTo>
                    <a:pt x="190" y="359"/>
                  </a:lnTo>
                  <a:lnTo>
                    <a:pt x="190" y="359"/>
                  </a:lnTo>
                  <a:lnTo>
                    <a:pt x="184" y="358"/>
                  </a:lnTo>
                  <a:lnTo>
                    <a:pt x="178" y="356"/>
                  </a:lnTo>
                  <a:lnTo>
                    <a:pt x="173" y="354"/>
                  </a:lnTo>
                  <a:lnTo>
                    <a:pt x="168" y="35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7" y="273"/>
                  </a:lnTo>
                  <a:lnTo>
                    <a:pt x="66" y="286"/>
                  </a:lnTo>
                  <a:lnTo>
                    <a:pt x="66" y="300"/>
                  </a:lnTo>
                  <a:lnTo>
                    <a:pt x="66" y="314"/>
                  </a:lnTo>
                  <a:lnTo>
                    <a:pt x="67" y="328"/>
                  </a:lnTo>
                  <a:lnTo>
                    <a:pt x="69" y="341"/>
                  </a:lnTo>
                  <a:lnTo>
                    <a:pt x="72" y="355"/>
                  </a:lnTo>
                  <a:lnTo>
                    <a:pt x="76" y="368"/>
                  </a:lnTo>
                  <a:lnTo>
                    <a:pt x="81" y="382"/>
                  </a:lnTo>
                  <a:lnTo>
                    <a:pt x="86" y="394"/>
                  </a:lnTo>
                  <a:lnTo>
                    <a:pt x="92" y="406"/>
                  </a:lnTo>
                  <a:lnTo>
                    <a:pt x="98" y="419"/>
                  </a:lnTo>
                  <a:lnTo>
                    <a:pt x="107" y="430"/>
                  </a:lnTo>
                  <a:lnTo>
                    <a:pt x="115" y="442"/>
                  </a:lnTo>
                  <a:lnTo>
                    <a:pt x="123" y="453"/>
                  </a:lnTo>
                  <a:lnTo>
                    <a:pt x="133" y="463"/>
                  </a:lnTo>
                  <a:lnTo>
                    <a:pt x="133" y="463"/>
                  </a:lnTo>
                  <a:lnTo>
                    <a:pt x="146" y="475"/>
                  </a:lnTo>
                  <a:lnTo>
                    <a:pt x="159" y="486"/>
                  </a:lnTo>
                  <a:lnTo>
                    <a:pt x="174" y="495"/>
                  </a:lnTo>
                  <a:lnTo>
                    <a:pt x="188" y="504"/>
                  </a:lnTo>
                  <a:lnTo>
                    <a:pt x="204" y="511"/>
                  </a:lnTo>
                  <a:lnTo>
                    <a:pt x="219" y="517"/>
                  </a:lnTo>
                  <a:lnTo>
                    <a:pt x="236" y="522"/>
                  </a:lnTo>
                  <a:lnTo>
                    <a:pt x="253" y="526"/>
                  </a:lnTo>
                  <a:lnTo>
                    <a:pt x="269" y="528"/>
                  </a:lnTo>
                  <a:lnTo>
                    <a:pt x="286" y="529"/>
                  </a:lnTo>
                  <a:lnTo>
                    <a:pt x="303" y="529"/>
                  </a:lnTo>
                  <a:lnTo>
                    <a:pt x="320" y="528"/>
                  </a:lnTo>
                  <a:lnTo>
                    <a:pt x="337" y="526"/>
                  </a:lnTo>
                  <a:lnTo>
                    <a:pt x="354" y="522"/>
                  </a:lnTo>
                  <a:lnTo>
                    <a:pt x="370" y="517"/>
                  </a:lnTo>
                  <a:lnTo>
                    <a:pt x="387" y="511"/>
                  </a:lnTo>
                  <a:lnTo>
                    <a:pt x="387" y="511"/>
                  </a:lnTo>
                  <a:lnTo>
                    <a:pt x="392" y="510"/>
                  </a:lnTo>
                  <a:lnTo>
                    <a:pt x="397" y="509"/>
                  </a:lnTo>
                  <a:lnTo>
                    <a:pt x="402" y="509"/>
                  </a:lnTo>
                  <a:lnTo>
                    <a:pt x="407" y="509"/>
                  </a:lnTo>
                  <a:lnTo>
                    <a:pt x="411" y="511"/>
                  </a:lnTo>
                  <a:lnTo>
                    <a:pt x="416" y="512"/>
                  </a:lnTo>
                  <a:lnTo>
                    <a:pt x="420" y="515"/>
                  </a:lnTo>
                  <a:lnTo>
                    <a:pt x="423" y="518"/>
                  </a:lnTo>
                  <a:lnTo>
                    <a:pt x="672" y="765"/>
                  </a:lnTo>
                  <a:lnTo>
                    <a:pt x="625" y="8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49">
              <a:extLst>
                <a:ext uri="{FF2B5EF4-FFF2-40B4-BE49-F238E27FC236}">
                  <a16:creationId xmlns:a16="http://schemas.microsoft.com/office/drawing/2014/main" id="{5DF54C24-B02B-FD63-C61E-98629A4C1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288" y="2334950"/>
              <a:ext cx="137715" cy="137714"/>
            </a:xfrm>
            <a:custGeom>
              <a:avLst/>
              <a:gdLst>
                <a:gd name="T0" fmla="*/ 485 w 812"/>
                <a:gd name="T1" fmla="*/ 811 h 812"/>
                <a:gd name="T2" fmla="*/ 428 w 812"/>
                <a:gd name="T3" fmla="*/ 800 h 812"/>
                <a:gd name="T4" fmla="*/ 375 w 812"/>
                <a:gd name="T5" fmla="*/ 778 h 812"/>
                <a:gd name="T6" fmla="*/ 327 w 812"/>
                <a:gd name="T7" fmla="*/ 745 h 812"/>
                <a:gd name="T8" fmla="*/ 290 w 812"/>
                <a:gd name="T9" fmla="*/ 710 h 812"/>
                <a:gd name="T10" fmla="*/ 244 w 812"/>
                <a:gd name="T11" fmla="*/ 640 h 812"/>
                <a:gd name="T12" fmla="*/ 220 w 812"/>
                <a:gd name="T13" fmla="*/ 563 h 812"/>
                <a:gd name="T14" fmla="*/ 219 w 812"/>
                <a:gd name="T15" fmla="*/ 481 h 812"/>
                <a:gd name="T16" fmla="*/ 0 w 812"/>
                <a:gd name="T17" fmla="*/ 187 h 812"/>
                <a:gd name="T18" fmla="*/ 298 w 812"/>
                <a:gd name="T19" fmla="*/ 392 h 812"/>
                <a:gd name="T20" fmla="*/ 304 w 812"/>
                <a:gd name="T21" fmla="*/ 410 h 812"/>
                <a:gd name="T22" fmla="*/ 302 w 812"/>
                <a:gd name="T23" fmla="*/ 424 h 812"/>
                <a:gd name="T24" fmla="*/ 284 w 812"/>
                <a:gd name="T25" fmla="*/ 491 h 812"/>
                <a:gd name="T26" fmla="*/ 287 w 812"/>
                <a:gd name="T27" fmla="*/ 559 h 812"/>
                <a:gd name="T28" fmla="*/ 309 w 812"/>
                <a:gd name="T29" fmla="*/ 623 h 812"/>
                <a:gd name="T30" fmla="*/ 351 w 812"/>
                <a:gd name="T31" fmla="*/ 679 h 812"/>
                <a:gd name="T32" fmla="*/ 384 w 812"/>
                <a:gd name="T33" fmla="*/ 706 h 812"/>
                <a:gd name="T34" fmla="*/ 433 w 812"/>
                <a:gd name="T35" fmla="*/ 731 h 812"/>
                <a:gd name="T36" fmla="*/ 487 w 812"/>
                <a:gd name="T37" fmla="*/ 745 h 812"/>
                <a:gd name="T38" fmla="*/ 543 w 812"/>
                <a:gd name="T39" fmla="*/ 745 h 812"/>
                <a:gd name="T40" fmla="*/ 455 w 812"/>
                <a:gd name="T41" fmla="*/ 636 h 812"/>
                <a:gd name="T42" fmla="*/ 450 w 812"/>
                <a:gd name="T43" fmla="*/ 486 h 812"/>
                <a:gd name="T44" fmla="*/ 456 w 812"/>
                <a:gd name="T45" fmla="*/ 468 h 812"/>
                <a:gd name="T46" fmla="*/ 477 w 812"/>
                <a:gd name="T47" fmla="*/ 454 h 812"/>
                <a:gd name="T48" fmla="*/ 622 w 812"/>
                <a:gd name="T49" fmla="*/ 454 h 812"/>
                <a:gd name="T50" fmla="*/ 742 w 812"/>
                <a:gd name="T51" fmla="*/ 558 h 812"/>
                <a:gd name="T52" fmla="*/ 746 w 812"/>
                <a:gd name="T53" fmla="*/ 516 h 812"/>
                <a:gd name="T54" fmla="*/ 740 w 812"/>
                <a:gd name="T55" fmla="*/ 460 h 812"/>
                <a:gd name="T56" fmla="*/ 720 w 812"/>
                <a:gd name="T57" fmla="*/ 409 h 812"/>
                <a:gd name="T58" fmla="*/ 688 w 812"/>
                <a:gd name="T59" fmla="*/ 362 h 812"/>
                <a:gd name="T60" fmla="*/ 652 w 812"/>
                <a:gd name="T61" fmla="*/ 328 h 812"/>
                <a:gd name="T62" fmla="*/ 592 w 812"/>
                <a:gd name="T63" fmla="*/ 297 h 812"/>
                <a:gd name="T64" fmla="*/ 525 w 812"/>
                <a:gd name="T65" fmla="*/ 284 h 812"/>
                <a:gd name="T66" fmla="*/ 457 w 812"/>
                <a:gd name="T67" fmla="*/ 291 h 812"/>
                <a:gd name="T68" fmla="*/ 420 w 812"/>
                <a:gd name="T69" fmla="*/ 303 h 812"/>
                <a:gd name="T70" fmla="*/ 400 w 812"/>
                <a:gd name="T71" fmla="*/ 303 h 812"/>
                <a:gd name="T72" fmla="*/ 141 w 812"/>
                <a:gd name="T73" fmla="*/ 48 h 812"/>
                <a:gd name="T74" fmla="*/ 440 w 812"/>
                <a:gd name="T75" fmla="*/ 227 h 812"/>
                <a:gd name="T76" fmla="*/ 521 w 812"/>
                <a:gd name="T77" fmla="*/ 217 h 812"/>
                <a:gd name="T78" fmla="*/ 602 w 812"/>
                <a:gd name="T79" fmla="*/ 231 h 812"/>
                <a:gd name="T80" fmla="*/ 676 w 812"/>
                <a:gd name="T81" fmla="*/ 265 h 812"/>
                <a:gd name="T82" fmla="*/ 725 w 812"/>
                <a:gd name="T83" fmla="*/ 304 h 812"/>
                <a:gd name="T84" fmla="*/ 778 w 812"/>
                <a:gd name="T85" fmla="*/ 376 h 812"/>
                <a:gd name="T86" fmla="*/ 807 w 812"/>
                <a:gd name="T87" fmla="*/ 458 h 812"/>
                <a:gd name="T88" fmla="*/ 811 w 812"/>
                <a:gd name="T89" fmla="*/ 544 h 812"/>
                <a:gd name="T90" fmla="*/ 788 w 812"/>
                <a:gd name="T91" fmla="*/ 631 h 812"/>
                <a:gd name="T92" fmla="*/ 773 w 812"/>
                <a:gd name="T93" fmla="*/ 648 h 812"/>
                <a:gd name="T94" fmla="*/ 749 w 812"/>
                <a:gd name="T95" fmla="*/ 650 h 812"/>
                <a:gd name="T96" fmla="*/ 516 w 812"/>
                <a:gd name="T97" fmla="*/ 519 h 812"/>
                <a:gd name="T98" fmla="*/ 647 w 812"/>
                <a:gd name="T99" fmla="*/ 742 h 812"/>
                <a:gd name="T100" fmla="*/ 650 w 812"/>
                <a:gd name="T101" fmla="*/ 764 h 812"/>
                <a:gd name="T102" fmla="*/ 631 w 812"/>
                <a:gd name="T103" fmla="*/ 788 h 812"/>
                <a:gd name="T104" fmla="*/ 588 w 812"/>
                <a:gd name="T105" fmla="*/ 803 h 812"/>
                <a:gd name="T106" fmla="*/ 529 w 812"/>
                <a:gd name="T107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12" h="812">
                  <a:moveTo>
                    <a:pt x="514" y="812"/>
                  </a:moveTo>
                  <a:lnTo>
                    <a:pt x="514" y="812"/>
                  </a:lnTo>
                  <a:lnTo>
                    <a:pt x="500" y="812"/>
                  </a:lnTo>
                  <a:lnTo>
                    <a:pt x="485" y="811"/>
                  </a:lnTo>
                  <a:lnTo>
                    <a:pt x="471" y="809"/>
                  </a:lnTo>
                  <a:lnTo>
                    <a:pt x="456" y="807"/>
                  </a:lnTo>
                  <a:lnTo>
                    <a:pt x="443" y="804"/>
                  </a:lnTo>
                  <a:lnTo>
                    <a:pt x="428" y="800"/>
                  </a:lnTo>
                  <a:lnTo>
                    <a:pt x="415" y="795"/>
                  </a:lnTo>
                  <a:lnTo>
                    <a:pt x="401" y="790"/>
                  </a:lnTo>
                  <a:lnTo>
                    <a:pt x="388" y="784"/>
                  </a:lnTo>
                  <a:lnTo>
                    <a:pt x="375" y="778"/>
                  </a:lnTo>
                  <a:lnTo>
                    <a:pt x="363" y="771"/>
                  </a:lnTo>
                  <a:lnTo>
                    <a:pt x="351" y="762"/>
                  </a:lnTo>
                  <a:lnTo>
                    <a:pt x="338" y="754"/>
                  </a:lnTo>
                  <a:lnTo>
                    <a:pt x="327" y="745"/>
                  </a:lnTo>
                  <a:lnTo>
                    <a:pt x="315" y="735"/>
                  </a:lnTo>
                  <a:lnTo>
                    <a:pt x="304" y="725"/>
                  </a:lnTo>
                  <a:lnTo>
                    <a:pt x="304" y="725"/>
                  </a:lnTo>
                  <a:lnTo>
                    <a:pt x="290" y="710"/>
                  </a:lnTo>
                  <a:lnTo>
                    <a:pt x="276" y="693"/>
                  </a:lnTo>
                  <a:lnTo>
                    <a:pt x="265" y="677"/>
                  </a:lnTo>
                  <a:lnTo>
                    <a:pt x="253" y="658"/>
                  </a:lnTo>
                  <a:lnTo>
                    <a:pt x="244" y="640"/>
                  </a:lnTo>
                  <a:lnTo>
                    <a:pt x="237" y="622"/>
                  </a:lnTo>
                  <a:lnTo>
                    <a:pt x="230" y="602"/>
                  </a:lnTo>
                  <a:lnTo>
                    <a:pt x="224" y="582"/>
                  </a:lnTo>
                  <a:lnTo>
                    <a:pt x="220" y="563"/>
                  </a:lnTo>
                  <a:lnTo>
                    <a:pt x="218" y="542"/>
                  </a:lnTo>
                  <a:lnTo>
                    <a:pt x="217" y="521"/>
                  </a:lnTo>
                  <a:lnTo>
                    <a:pt x="217" y="502"/>
                  </a:lnTo>
                  <a:lnTo>
                    <a:pt x="219" y="481"/>
                  </a:lnTo>
                  <a:lnTo>
                    <a:pt x="222" y="460"/>
                  </a:lnTo>
                  <a:lnTo>
                    <a:pt x="226" y="440"/>
                  </a:lnTo>
                  <a:lnTo>
                    <a:pt x="233" y="420"/>
                  </a:lnTo>
                  <a:lnTo>
                    <a:pt x="0" y="187"/>
                  </a:lnTo>
                  <a:lnTo>
                    <a:pt x="46" y="141"/>
                  </a:lnTo>
                  <a:lnTo>
                    <a:pt x="295" y="388"/>
                  </a:lnTo>
                  <a:lnTo>
                    <a:pt x="295" y="388"/>
                  </a:lnTo>
                  <a:lnTo>
                    <a:pt x="298" y="392"/>
                  </a:lnTo>
                  <a:lnTo>
                    <a:pt x="300" y="396"/>
                  </a:lnTo>
                  <a:lnTo>
                    <a:pt x="302" y="400"/>
                  </a:lnTo>
                  <a:lnTo>
                    <a:pt x="303" y="406"/>
                  </a:lnTo>
                  <a:lnTo>
                    <a:pt x="304" y="410"/>
                  </a:lnTo>
                  <a:lnTo>
                    <a:pt x="304" y="415"/>
                  </a:lnTo>
                  <a:lnTo>
                    <a:pt x="303" y="420"/>
                  </a:lnTo>
                  <a:lnTo>
                    <a:pt x="302" y="424"/>
                  </a:lnTo>
                  <a:lnTo>
                    <a:pt x="302" y="424"/>
                  </a:lnTo>
                  <a:lnTo>
                    <a:pt x="295" y="441"/>
                  </a:lnTo>
                  <a:lnTo>
                    <a:pt x="291" y="458"/>
                  </a:lnTo>
                  <a:lnTo>
                    <a:pt x="286" y="475"/>
                  </a:lnTo>
                  <a:lnTo>
                    <a:pt x="284" y="491"/>
                  </a:lnTo>
                  <a:lnTo>
                    <a:pt x="283" y="509"/>
                  </a:lnTo>
                  <a:lnTo>
                    <a:pt x="283" y="526"/>
                  </a:lnTo>
                  <a:lnTo>
                    <a:pt x="284" y="542"/>
                  </a:lnTo>
                  <a:lnTo>
                    <a:pt x="287" y="559"/>
                  </a:lnTo>
                  <a:lnTo>
                    <a:pt x="291" y="575"/>
                  </a:lnTo>
                  <a:lnTo>
                    <a:pt x="296" y="592"/>
                  </a:lnTo>
                  <a:lnTo>
                    <a:pt x="302" y="607"/>
                  </a:lnTo>
                  <a:lnTo>
                    <a:pt x="309" y="623"/>
                  </a:lnTo>
                  <a:lnTo>
                    <a:pt x="319" y="637"/>
                  </a:lnTo>
                  <a:lnTo>
                    <a:pt x="328" y="652"/>
                  </a:lnTo>
                  <a:lnTo>
                    <a:pt x="339" y="665"/>
                  </a:lnTo>
                  <a:lnTo>
                    <a:pt x="351" y="679"/>
                  </a:lnTo>
                  <a:lnTo>
                    <a:pt x="351" y="679"/>
                  </a:lnTo>
                  <a:lnTo>
                    <a:pt x="361" y="688"/>
                  </a:lnTo>
                  <a:lnTo>
                    <a:pt x="372" y="697"/>
                  </a:lnTo>
                  <a:lnTo>
                    <a:pt x="384" y="706"/>
                  </a:lnTo>
                  <a:lnTo>
                    <a:pt x="396" y="714"/>
                  </a:lnTo>
                  <a:lnTo>
                    <a:pt x="408" y="720"/>
                  </a:lnTo>
                  <a:lnTo>
                    <a:pt x="421" y="726"/>
                  </a:lnTo>
                  <a:lnTo>
                    <a:pt x="433" y="731"/>
                  </a:lnTo>
                  <a:lnTo>
                    <a:pt x="447" y="737"/>
                  </a:lnTo>
                  <a:lnTo>
                    <a:pt x="460" y="740"/>
                  </a:lnTo>
                  <a:lnTo>
                    <a:pt x="474" y="743"/>
                  </a:lnTo>
                  <a:lnTo>
                    <a:pt x="487" y="745"/>
                  </a:lnTo>
                  <a:lnTo>
                    <a:pt x="501" y="746"/>
                  </a:lnTo>
                  <a:lnTo>
                    <a:pt x="515" y="746"/>
                  </a:lnTo>
                  <a:lnTo>
                    <a:pt x="529" y="746"/>
                  </a:lnTo>
                  <a:lnTo>
                    <a:pt x="543" y="745"/>
                  </a:lnTo>
                  <a:lnTo>
                    <a:pt x="557" y="743"/>
                  </a:lnTo>
                  <a:lnTo>
                    <a:pt x="459" y="641"/>
                  </a:lnTo>
                  <a:lnTo>
                    <a:pt x="459" y="641"/>
                  </a:lnTo>
                  <a:lnTo>
                    <a:pt x="455" y="636"/>
                  </a:lnTo>
                  <a:lnTo>
                    <a:pt x="453" y="631"/>
                  </a:lnTo>
                  <a:lnTo>
                    <a:pt x="451" y="625"/>
                  </a:lnTo>
                  <a:lnTo>
                    <a:pt x="450" y="619"/>
                  </a:lnTo>
                  <a:lnTo>
                    <a:pt x="450" y="486"/>
                  </a:lnTo>
                  <a:lnTo>
                    <a:pt x="450" y="486"/>
                  </a:lnTo>
                  <a:lnTo>
                    <a:pt x="451" y="480"/>
                  </a:lnTo>
                  <a:lnTo>
                    <a:pt x="453" y="474"/>
                  </a:lnTo>
                  <a:lnTo>
                    <a:pt x="456" y="468"/>
                  </a:lnTo>
                  <a:lnTo>
                    <a:pt x="460" y="464"/>
                  </a:lnTo>
                  <a:lnTo>
                    <a:pt x="464" y="459"/>
                  </a:lnTo>
                  <a:lnTo>
                    <a:pt x="471" y="456"/>
                  </a:lnTo>
                  <a:lnTo>
                    <a:pt x="477" y="454"/>
                  </a:lnTo>
                  <a:lnTo>
                    <a:pt x="483" y="453"/>
                  </a:lnTo>
                  <a:lnTo>
                    <a:pt x="616" y="453"/>
                  </a:lnTo>
                  <a:lnTo>
                    <a:pt x="616" y="453"/>
                  </a:lnTo>
                  <a:lnTo>
                    <a:pt x="622" y="454"/>
                  </a:lnTo>
                  <a:lnTo>
                    <a:pt x="628" y="455"/>
                  </a:lnTo>
                  <a:lnTo>
                    <a:pt x="633" y="458"/>
                  </a:lnTo>
                  <a:lnTo>
                    <a:pt x="638" y="462"/>
                  </a:lnTo>
                  <a:lnTo>
                    <a:pt x="742" y="558"/>
                  </a:lnTo>
                  <a:lnTo>
                    <a:pt x="742" y="558"/>
                  </a:lnTo>
                  <a:lnTo>
                    <a:pt x="744" y="544"/>
                  </a:lnTo>
                  <a:lnTo>
                    <a:pt x="746" y="530"/>
                  </a:lnTo>
                  <a:lnTo>
                    <a:pt x="746" y="516"/>
                  </a:lnTo>
                  <a:lnTo>
                    <a:pt x="746" y="502"/>
                  </a:lnTo>
                  <a:lnTo>
                    <a:pt x="745" y="488"/>
                  </a:lnTo>
                  <a:lnTo>
                    <a:pt x="743" y="475"/>
                  </a:lnTo>
                  <a:lnTo>
                    <a:pt x="740" y="460"/>
                  </a:lnTo>
                  <a:lnTo>
                    <a:pt x="736" y="448"/>
                  </a:lnTo>
                  <a:lnTo>
                    <a:pt x="731" y="435"/>
                  </a:lnTo>
                  <a:lnTo>
                    <a:pt x="726" y="421"/>
                  </a:lnTo>
                  <a:lnTo>
                    <a:pt x="720" y="409"/>
                  </a:lnTo>
                  <a:lnTo>
                    <a:pt x="714" y="396"/>
                  </a:lnTo>
                  <a:lnTo>
                    <a:pt x="706" y="385"/>
                  </a:lnTo>
                  <a:lnTo>
                    <a:pt x="697" y="373"/>
                  </a:lnTo>
                  <a:lnTo>
                    <a:pt x="688" y="362"/>
                  </a:lnTo>
                  <a:lnTo>
                    <a:pt x="679" y="352"/>
                  </a:lnTo>
                  <a:lnTo>
                    <a:pt x="679" y="352"/>
                  </a:lnTo>
                  <a:lnTo>
                    <a:pt x="665" y="339"/>
                  </a:lnTo>
                  <a:lnTo>
                    <a:pt x="652" y="328"/>
                  </a:lnTo>
                  <a:lnTo>
                    <a:pt x="637" y="319"/>
                  </a:lnTo>
                  <a:lnTo>
                    <a:pt x="623" y="310"/>
                  </a:lnTo>
                  <a:lnTo>
                    <a:pt x="607" y="303"/>
                  </a:lnTo>
                  <a:lnTo>
                    <a:pt x="592" y="297"/>
                  </a:lnTo>
                  <a:lnTo>
                    <a:pt x="575" y="292"/>
                  </a:lnTo>
                  <a:lnTo>
                    <a:pt x="559" y="288"/>
                  </a:lnTo>
                  <a:lnTo>
                    <a:pt x="542" y="285"/>
                  </a:lnTo>
                  <a:lnTo>
                    <a:pt x="525" y="284"/>
                  </a:lnTo>
                  <a:lnTo>
                    <a:pt x="508" y="284"/>
                  </a:lnTo>
                  <a:lnTo>
                    <a:pt x="491" y="285"/>
                  </a:lnTo>
                  <a:lnTo>
                    <a:pt x="475" y="287"/>
                  </a:lnTo>
                  <a:lnTo>
                    <a:pt x="457" y="291"/>
                  </a:lnTo>
                  <a:lnTo>
                    <a:pt x="441" y="296"/>
                  </a:lnTo>
                  <a:lnTo>
                    <a:pt x="424" y="302"/>
                  </a:lnTo>
                  <a:lnTo>
                    <a:pt x="424" y="302"/>
                  </a:lnTo>
                  <a:lnTo>
                    <a:pt x="420" y="303"/>
                  </a:lnTo>
                  <a:lnTo>
                    <a:pt x="415" y="304"/>
                  </a:lnTo>
                  <a:lnTo>
                    <a:pt x="410" y="304"/>
                  </a:lnTo>
                  <a:lnTo>
                    <a:pt x="405" y="304"/>
                  </a:lnTo>
                  <a:lnTo>
                    <a:pt x="400" y="303"/>
                  </a:lnTo>
                  <a:lnTo>
                    <a:pt x="396" y="301"/>
                  </a:lnTo>
                  <a:lnTo>
                    <a:pt x="392" y="298"/>
                  </a:lnTo>
                  <a:lnTo>
                    <a:pt x="388" y="295"/>
                  </a:lnTo>
                  <a:lnTo>
                    <a:pt x="141" y="48"/>
                  </a:lnTo>
                  <a:lnTo>
                    <a:pt x="187" y="0"/>
                  </a:lnTo>
                  <a:lnTo>
                    <a:pt x="420" y="233"/>
                  </a:lnTo>
                  <a:lnTo>
                    <a:pt x="420" y="233"/>
                  </a:lnTo>
                  <a:lnTo>
                    <a:pt x="440" y="227"/>
                  </a:lnTo>
                  <a:lnTo>
                    <a:pt x="460" y="223"/>
                  </a:lnTo>
                  <a:lnTo>
                    <a:pt x="481" y="219"/>
                  </a:lnTo>
                  <a:lnTo>
                    <a:pt x="501" y="217"/>
                  </a:lnTo>
                  <a:lnTo>
                    <a:pt x="521" y="217"/>
                  </a:lnTo>
                  <a:lnTo>
                    <a:pt x="542" y="218"/>
                  </a:lnTo>
                  <a:lnTo>
                    <a:pt x="562" y="222"/>
                  </a:lnTo>
                  <a:lnTo>
                    <a:pt x="582" y="225"/>
                  </a:lnTo>
                  <a:lnTo>
                    <a:pt x="602" y="231"/>
                  </a:lnTo>
                  <a:lnTo>
                    <a:pt x="621" y="237"/>
                  </a:lnTo>
                  <a:lnTo>
                    <a:pt x="640" y="245"/>
                  </a:lnTo>
                  <a:lnTo>
                    <a:pt x="658" y="255"/>
                  </a:lnTo>
                  <a:lnTo>
                    <a:pt x="676" y="265"/>
                  </a:lnTo>
                  <a:lnTo>
                    <a:pt x="693" y="277"/>
                  </a:lnTo>
                  <a:lnTo>
                    <a:pt x="710" y="290"/>
                  </a:lnTo>
                  <a:lnTo>
                    <a:pt x="725" y="304"/>
                  </a:lnTo>
                  <a:lnTo>
                    <a:pt x="725" y="304"/>
                  </a:lnTo>
                  <a:lnTo>
                    <a:pt x="741" y="321"/>
                  </a:lnTo>
                  <a:lnTo>
                    <a:pt x="754" y="338"/>
                  </a:lnTo>
                  <a:lnTo>
                    <a:pt x="767" y="357"/>
                  </a:lnTo>
                  <a:lnTo>
                    <a:pt x="778" y="376"/>
                  </a:lnTo>
                  <a:lnTo>
                    <a:pt x="787" y="395"/>
                  </a:lnTo>
                  <a:lnTo>
                    <a:pt x="796" y="416"/>
                  </a:lnTo>
                  <a:lnTo>
                    <a:pt x="802" y="437"/>
                  </a:lnTo>
                  <a:lnTo>
                    <a:pt x="807" y="458"/>
                  </a:lnTo>
                  <a:lnTo>
                    <a:pt x="810" y="479"/>
                  </a:lnTo>
                  <a:lnTo>
                    <a:pt x="812" y="501"/>
                  </a:lnTo>
                  <a:lnTo>
                    <a:pt x="812" y="522"/>
                  </a:lnTo>
                  <a:lnTo>
                    <a:pt x="811" y="544"/>
                  </a:lnTo>
                  <a:lnTo>
                    <a:pt x="808" y="566"/>
                  </a:lnTo>
                  <a:lnTo>
                    <a:pt x="803" y="588"/>
                  </a:lnTo>
                  <a:lnTo>
                    <a:pt x="797" y="609"/>
                  </a:lnTo>
                  <a:lnTo>
                    <a:pt x="788" y="631"/>
                  </a:lnTo>
                  <a:lnTo>
                    <a:pt x="788" y="631"/>
                  </a:lnTo>
                  <a:lnTo>
                    <a:pt x="784" y="637"/>
                  </a:lnTo>
                  <a:lnTo>
                    <a:pt x="779" y="643"/>
                  </a:lnTo>
                  <a:lnTo>
                    <a:pt x="773" y="648"/>
                  </a:lnTo>
                  <a:lnTo>
                    <a:pt x="765" y="651"/>
                  </a:lnTo>
                  <a:lnTo>
                    <a:pt x="765" y="651"/>
                  </a:lnTo>
                  <a:lnTo>
                    <a:pt x="757" y="651"/>
                  </a:lnTo>
                  <a:lnTo>
                    <a:pt x="749" y="650"/>
                  </a:lnTo>
                  <a:lnTo>
                    <a:pt x="742" y="647"/>
                  </a:lnTo>
                  <a:lnTo>
                    <a:pt x="736" y="642"/>
                  </a:lnTo>
                  <a:lnTo>
                    <a:pt x="602" y="519"/>
                  </a:lnTo>
                  <a:lnTo>
                    <a:pt x="516" y="519"/>
                  </a:lnTo>
                  <a:lnTo>
                    <a:pt x="516" y="605"/>
                  </a:lnTo>
                  <a:lnTo>
                    <a:pt x="641" y="735"/>
                  </a:lnTo>
                  <a:lnTo>
                    <a:pt x="641" y="735"/>
                  </a:lnTo>
                  <a:lnTo>
                    <a:pt x="647" y="742"/>
                  </a:lnTo>
                  <a:lnTo>
                    <a:pt x="650" y="749"/>
                  </a:lnTo>
                  <a:lnTo>
                    <a:pt x="651" y="757"/>
                  </a:lnTo>
                  <a:lnTo>
                    <a:pt x="650" y="764"/>
                  </a:lnTo>
                  <a:lnTo>
                    <a:pt x="650" y="764"/>
                  </a:lnTo>
                  <a:lnTo>
                    <a:pt x="648" y="773"/>
                  </a:lnTo>
                  <a:lnTo>
                    <a:pt x="643" y="779"/>
                  </a:lnTo>
                  <a:lnTo>
                    <a:pt x="637" y="784"/>
                  </a:lnTo>
                  <a:lnTo>
                    <a:pt x="631" y="788"/>
                  </a:lnTo>
                  <a:lnTo>
                    <a:pt x="631" y="788"/>
                  </a:lnTo>
                  <a:lnTo>
                    <a:pt x="617" y="794"/>
                  </a:lnTo>
                  <a:lnTo>
                    <a:pt x="602" y="799"/>
                  </a:lnTo>
                  <a:lnTo>
                    <a:pt x="588" y="803"/>
                  </a:lnTo>
                  <a:lnTo>
                    <a:pt x="573" y="807"/>
                  </a:lnTo>
                  <a:lnTo>
                    <a:pt x="559" y="809"/>
                  </a:lnTo>
                  <a:lnTo>
                    <a:pt x="543" y="811"/>
                  </a:lnTo>
                  <a:lnTo>
                    <a:pt x="529" y="812"/>
                  </a:lnTo>
                  <a:lnTo>
                    <a:pt x="514" y="812"/>
                  </a:lnTo>
                  <a:lnTo>
                    <a:pt x="514" y="8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3250334-6F8E-54B1-B508-8F65540DE5DF}"/>
                </a:ext>
              </a:extLst>
            </p:cNvPr>
            <p:cNvSpPr txBox="1"/>
            <p:nvPr/>
          </p:nvSpPr>
          <p:spPr>
            <a:xfrm>
              <a:off x="964272" y="2491931"/>
              <a:ext cx="3250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457200" rtl="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VP</a:t>
              </a:r>
              <a:endParaRPr kumimoji="0" lang="en-US" sz="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Rectangle: Top Corners Rounded 56">
            <a:extLst>
              <a:ext uri="{FF2B5EF4-FFF2-40B4-BE49-F238E27FC236}">
                <a16:creationId xmlns:a16="http://schemas.microsoft.com/office/drawing/2014/main" id="{B6729D2B-7F3E-2E17-2955-0D0F84FF1364}"/>
              </a:ext>
            </a:extLst>
          </p:cNvPr>
          <p:cNvSpPr/>
          <p:nvPr/>
        </p:nvSpPr>
        <p:spPr>
          <a:xfrm rot="16200000" flipV="1">
            <a:off x="3844239" y="2439020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A8BF869-B687-4D2E-C5D5-F42F92F97C74}"/>
              </a:ext>
            </a:extLst>
          </p:cNvPr>
          <p:cNvSpPr/>
          <p:nvPr/>
        </p:nvSpPr>
        <p:spPr>
          <a:xfrm>
            <a:off x="3893266" y="2507359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" name="Graphic 58" descr="Earth Globe - Asia with solid fill">
            <a:extLst>
              <a:ext uri="{FF2B5EF4-FFF2-40B4-BE49-F238E27FC236}">
                <a16:creationId xmlns:a16="http://schemas.microsoft.com/office/drawing/2014/main" id="{EAAE4312-90E5-FDBC-572D-84BDC3F2C97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900429" y="2523594"/>
            <a:ext cx="422676" cy="422676"/>
          </a:xfrm>
          <a:prstGeom prst="rect">
            <a:avLst/>
          </a:prstGeom>
        </p:spPr>
      </p:pic>
      <p:sp>
        <p:nvSpPr>
          <p:cNvPr id="60" name="Rectangle: Top Corners Rounded 59">
            <a:extLst>
              <a:ext uri="{FF2B5EF4-FFF2-40B4-BE49-F238E27FC236}">
                <a16:creationId xmlns:a16="http://schemas.microsoft.com/office/drawing/2014/main" id="{5D77AC32-C18D-61F8-C74D-7AD4D1C82315}"/>
              </a:ext>
            </a:extLst>
          </p:cNvPr>
          <p:cNvSpPr/>
          <p:nvPr/>
        </p:nvSpPr>
        <p:spPr>
          <a:xfrm rot="16200000" flipV="1">
            <a:off x="3842415" y="3518247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81235DD6-6962-109C-2180-69C4AB9085B4}"/>
              </a:ext>
            </a:extLst>
          </p:cNvPr>
          <p:cNvSpPr/>
          <p:nvPr/>
        </p:nvSpPr>
        <p:spPr>
          <a:xfrm>
            <a:off x="3891442" y="3586586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7866C04-24DA-0A4C-E199-241145205688}"/>
              </a:ext>
            </a:extLst>
          </p:cNvPr>
          <p:cNvSpPr txBox="1"/>
          <p:nvPr/>
        </p:nvSpPr>
        <p:spPr>
          <a:xfrm>
            <a:off x="4507853" y="4580431"/>
            <a:ext cx="1837491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3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st centers</a:t>
            </a:r>
            <a:endParaRPr kumimoji="0" lang="ar-SA" sz="10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lobally in </a:t>
            </a:r>
            <a:r>
              <a:rPr kumimoji="0" lang="ar-SA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9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iti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kumimoji="0" lang="ar-SA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test centers locally</a:t>
            </a:r>
            <a:endParaRPr kumimoji="0" lang="ar-SA" sz="105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28" name="Group 1027">
            <a:extLst>
              <a:ext uri="{FF2B5EF4-FFF2-40B4-BE49-F238E27FC236}">
                <a16:creationId xmlns:a16="http://schemas.microsoft.com/office/drawing/2014/main" id="{9376DD9D-1000-FA7B-6A65-38E8344D453A}"/>
              </a:ext>
            </a:extLst>
          </p:cNvPr>
          <p:cNvGrpSpPr/>
          <p:nvPr/>
        </p:nvGrpSpPr>
        <p:grpSpPr>
          <a:xfrm>
            <a:off x="3950727" y="3638647"/>
            <a:ext cx="292607" cy="303484"/>
            <a:chOff x="10216392" y="8410196"/>
            <a:chExt cx="450219" cy="365609"/>
          </a:xfrm>
        </p:grpSpPr>
        <p:sp>
          <p:nvSpPr>
            <p:cNvPr id="1032" name="Freeform 425">
              <a:extLst>
                <a:ext uri="{FF2B5EF4-FFF2-40B4-BE49-F238E27FC236}">
                  <a16:creationId xmlns:a16="http://schemas.microsoft.com/office/drawing/2014/main" id="{FD3F6BBB-51F8-9A6D-731D-641C4A758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9154" y="8495562"/>
              <a:ext cx="47876" cy="274207"/>
            </a:xfrm>
            <a:custGeom>
              <a:avLst/>
              <a:gdLst>
                <a:gd name="T0" fmla="*/ 65 w 122"/>
                <a:gd name="T1" fmla="*/ 748 h 748"/>
                <a:gd name="T2" fmla="*/ 65 w 122"/>
                <a:gd name="T3" fmla="*/ 748 h 748"/>
                <a:gd name="T4" fmla="*/ 0 w 122"/>
                <a:gd name="T5" fmla="*/ 683 h 748"/>
                <a:gd name="T6" fmla="*/ 0 w 122"/>
                <a:gd name="T7" fmla="*/ 0 h 748"/>
                <a:gd name="T8" fmla="*/ 122 w 122"/>
                <a:gd name="T9" fmla="*/ 0 h 748"/>
                <a:gd name="T10" fmla="*/ 122 w 122"/>
                <a:gd name="T11" fmla="*/ 691 h 748"/>
                <a:gd name="T12" fmla="*/ 65 w 122"/>
                <a:gd name="T13" fmla="*/ 748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748">
                  <a:moveTo>
                    <a:pt x="65" y="748"/>
                  </a:moveTo>
                  <a:lnTo>
                    <a:pt x="65" y="748"/>
                  </a:lnTo>
                  <a:cubicBezTo>
                    <a:pt x="29" y="748"/>
                    <a:pt x="0" y="719"/>
                    <a:pt x="0" y="68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691"/>
                  </a:lnTo>
                  <a:cubicBezTo>
                    <a:pt x="122" y="722"/>
                    <a:pt x="96" y="748"/>
                    <a:pt x="65" y="748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4" name="Freeform 426">
              <a:extLst>
                <a:ext uri="{FF2B5EF4-FFF2-40B4-BE49-F238E27FC236}">
                  <a16:creationId xmlns:a16="http://schemas.microsoft.com/office/drawing/2014/main" id="{573544DD-2D05-E3DD-4C6C-C5A4F294D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937" y="8412783"/>
              <a:ext cx="326846" cy="89678"/>
            </a:xfrm>
            <a:custGeom>
              <a:avLst/>
              <a:gdLst>
                <a:gd name="T0" fmla="*/ 837 w 837"/>
                <a:gd name="T1" fmla="*/ 243 h 243"/>
                <a:gd name="T2" fmla="*/ 300 w 837"/>
                <a:gd name="T3" fmla="*/ 243 h 243"/>
                <a:gd name="T4" fmla="*/ 230 w 837"/>
                <a:gd name="T5" fmla="*/ 146 h 243"/>
                <a:gd name="T6" fmla="*/ 0 w 837"/>
                <a:gd name="T7" fmla="*/ 146 h 243"/>
                <a:gd name="T8" fmla="*/ 0 w 837"/>
                <a:gd name="T9" fmla="*/ 0 h 243"/>
                <a:gd name="T10" fmla="*/ 837 w 837"/>
                <a:gd name="T11" fmla="*/ 0 h 243"/>
                <a:gd name="T12" fmla="*/ 837 w 837"/>
                <a:gd name="T13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243">
                  <a:moveTo>
                    <a:pt x="837" y="243"/>
                  </a:moveTo>
                  <a:lnTo>
                    <a:pt x="300" y="243"/>
                  </a:lnTo>
                  <a:cubicBezTo>
                    <a:pt x="277" y="210"/>
                    <a:pt x="253" y="178"/>
                    <a:pt x="230" y="146"/>
                  </a:cubicBezTo>
                  <a:cubicBezTo>
                    <a:pt x="154" y="146"/>
                    <a:pt x="77" y="146"/>
                    <a:pt x="0" y="146"/>
                  </a:cubicBezTo>
                  <a:lnTo>
                    <a:pt x="0" y="0"/>
                  </a:lnTo>
                  <a:lnTo>
                    <a:pt x="837" y="0"/>
                  </a:lnTo>
                  <a:lnTo>
                    <a:pt x="837" y="243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5" name="Freeform 428">
              <a:extLst>
                <a:ext uri="{FF2B5EF4-FFF2-40B4-BE49-F238E27FC236}">
                  <a16:creationId xmlns:a16="http://schemas.microsoft.com/office/drawing/2014/main" id="{D24587EF-025D-EE4B-A875-F7B34DACB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8" name="Freeform 429">
              <a:extLst>
                <a:ext uri="{FF2B5EF4-FFF2-40B4-BE49-F238E27FC236}">
                  <a16:creationId xmlns:a16="http://schemas.microsoft.com/office/drawing/2014/main" id="{488B2AA8-D290-6E06-F51B-FD6E77E8D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3192" y="8661983"/>
              <a:ext cx="242142" cy="113822"/>
            </a:xfrm>
            <a:custGeom>
              <a:avLst/>
              <a:gdLst>
                <a:gd name="T0" fmla="*/ 619 w 619"/>
                <a:gd name="T1" fmla="*/ 310 h 310"/>
                <a:gd name="T2" fmla="*/ 619 w 619"/>
                <a:gd name="T3" fmla="*/ 275 h 310"/>
                <a:gd name="T4" fmla="*/ 592 w 619"/>
                <a:gd name="T5" fmla="*/ 248 h 310"/>
                <a:gd name="T6" fmla="*/ 573 w 619"/>
                <a:gd name="T7" fmla="*/ 248 h 310"/>
                <a:gd name="T8" fmla="*/ 544 w 619"/>
                <a:gd name="T9" fmla="*/ 227 h 310"/>
                <a:gd name="T10" fmla="*/ 533 w 619"/>
                <a:gd name="T11" fmla="*/ 202 h 310"/>
                <a:gd name="T12" fmla="*/ 539 w 619"/>
                <a:gd name="T13" fmla="*/ 169 h 310"/>
                <a:gd name="T14" fmla="*/ 552 w 619"/>
                <a:gd name="T15" fmla="*/ 156 h 310"/>
                <a:gd name="T16" fmla="*/ 554 w 619"/>
                <a:gd name="T17" fmla="*/ 116 h 310"/>
                <a:gd name="T18" fmla="*/ 504 w 619"/>
                <a:gd name="T19" fmla="*/ 66 h 310"/>
                <a:gd name="T20" fmla="*/ 465 w 619"/>
                <a:gd name="T21" fmla="*/ 66 h 310"/>
                <a:gd name="T22" fmla="*/ 452 w 619"/>
                <a:gd name="T23" fmla="*/ 80 h 310"/>
                <a:gd name="T24" fmla="*/ 417 w 619"/>
                <a:gd name="T25" fmla="*/ 86 h 310"/>
                <a:gd name="T26" fmla="*/ 392 w 619"/>
                <a:gd name="T27" fmla="*/ 76 h 310"/>
                <a:gd name="T28" fmla="*/ 372 w 619"/>
                <a:gd name="T29" fmla="*/ 47 h 310"/>
                <a:gd name="T30" fmla="*/ 372 w 619"/>
                <a:gd name="T31" fmla="*/ 28 h 310"/>
                <a:gd name="T32" fmla="*/ 345 w 619"/>
                <a:gd name="T33" fmla="*/ 0 h 310"/>
                <a:gd name="T34" fmla="*/ 275 w 619"/>
                <a:gd name="T35" fmla="*/ 0 h 310"/>
                <a:gd name="T36" fmla="*/ 247 w 619"/>
                <a:gd name="T37" fmla="*/ 28 h 310"/>
                <a:gd name="T38" fmla="*/ 247 w 619"/>
                <a:gd name="T39" fmla="*/ 47 h 310"/>
                <a:gd name="T40" fmla="*/ 227 w 619"/>
                <a:gd name="T41" fmla="*/ 76 h 310"/>
                <a:gd name="T42" fmla="*/ 202 w 619"/>
                <a:gd name="T43" fmla="*/ 86 h 310"/>
                <a:gd name="T44" fmla="*/ 169 w 619"/>
                <a:gd name="T45" fmla="*/ 81 h 310"/>
                <a:gd name="T46" fmla="*/ 156 w 619"/>
                <a:gd name="T47" fmla="*/ 68 h 310"/>
                <a:gd name="T48" fmla="*/ 116 w 619"/>
                <a:gd name="T49" fmla="*/ 66 h 310"/>
                <a:gd name="T50" fmla="*/ 66 w 619"/>
                <a:gd name="T51" fmla="*/ 116 h 310"/>
                <a:gd name="T52" fmla="*/ 66 w 619"/>
                <a:gd name="T53" fmla="*/ 154 h 310"/>
                <a:gd name="T54" fmla="*/ 80 w 619"/>
                <a:gd name="T55" fmla="*/ 168 h 310"/>
                <a:gd name="T56" fmla="*/ 86 w 619"/>
                <a:gd name="T57" fmla="*/ 203 h 310"/>
                <a:gd name="T58" fmla="*/ 76 w 619"/>
                <a:gd name="T59" fmla="*/ 228 h 310"/>
                <a:gd name="T60" fmla="*/ 48 w 619"/>
                <a:gd name="T61" fmla="*/ 248 h 310"/>
                <a:gd name="T62" fmla="*/ 30 w 619"/>
                <a:gd name="T63" fmla="*/ 248 h 310"/>
                <a:gd name="T64" fmla="*/ 0 w 619"/>
                <a:gd name="T65" fmla="*/ 275 h 310"/>
                <a:gd name="T66" fmla="*/ 0 w 619"/>
                <a:gd name="T67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9" h="310">
                  <a:moveTo>
                    <a:pt x="619" y="310"/>
                  </a:moveTo>
                  <a:lnTo>
                    <a:pt x="619" y="275"/>
                  </a:lnTo>
                  <a:cubicBezTo>
                    <a:pt x="619" y="260"/>
                    <a:pt x="607" y="248"/>
                    <a:pt x="592" y="248"/>
                  </a:cubicBezTo>
                  <a:lnTo>
                    <a:pt x="573" y="248"/>
                  </a:lnTo>
                  <a:cubicBezTo>
                    <a:pt x="560" y="248"/>
                    <a:pt x="548" y="240"/>
                    <a:pt x="544" y="227"/>
                  </a:cubicBezTo>
                  <a:cubicBezTo>
                    <a:pt x="541" y="219"/>
                    <a:pt x="537" y="210"/>
                    <a:pt x="533" y="202"/>
                  </a:cubicBezTo>
                  <a:cubicBezTo>
                    <a:pt x="528" y="191"/>
                    <a:pt x="530" y="178"/>
                    <a:pt x="539" y="169"/>
                  </a:cubicBezTo>
                  <a:lnTo>
                    <a:pt x="552" y="156"/>
                  </a:lnTo>
                  <a:cubicBezTo>
                    <a:pt x="564" y="144"/>
                    <a:pt x="564" y="127"/>
                    <a:pt x="554" y="116"/>
                  </a:cubicBezTo>
                  <a:lnTo>
                    <a:pt x="504" y="66"/>
                  </a:lnTo>
                  <a:cubicBezTo>
                    <a:pt x="493" y="56"/>
                    <a:pt x="476" y="56"/>
                    <a:pt x="465" y="66"/>
                  </a:cubicBezTo>
                  <a:lnTo>
                    <a:pt x="452" y="80"/>
                  </a:lnTo>
                  <a:cubicBezTo>
                    <a:pt x="442" y="89"/>
                    <a:pt x="429" y="92"/>
                    <a:pt x="417" y="86"/>
                  </a:cubicBezTo>
                  <a:cubicBezTo>
                    <a:pt x="409" y="82"/>
                    <a:pt x="401" y="79"/>
                    <a:pt x="392" y="76"/>
                  </a:cubicBezTo>
                  <a:cubicBezTo>
                    <a:pt x="380" y="72"/>
                    <a:pt x="372" y="60"/>
                    <a:pt x="372" y="47"/>
                  </a:cubicBezTo>
                  <a:lnTo>
                    <a:pt x="372" y="28"/>
                  </a:lnTo>
                  <a:cubicBezTo>
                    <a:pt x="372" y="13"/>
                    <a:pt x="360" y="0"/>
                    <a:pt x="345" y="0"/>
                  </a:cubicBezTo>
                  <a:lnTo>
                    <a:pt x="275" y="0"/>
                  </a:lnTo>
                  <a:cubicBezTo>
                    <a:pt x="260" y="0"/>
                    <a:pt x="247" y="13"/>
                    <a:pt x="247" y="28"/>
                  </a:cubicBezTo>
                  <a:lnTo>
                    <a:pt x="247" y="47"/>
                  </a:lnTo>
                  <a:cubicBezTo>
                    <a:pt x="247" y="60"/>
                    <a:pt x="239" y="72"/>
                    <a:pt x="227" y="76"/>
                  </a:cubicBezTo>
                  <a:cubicBezTo>
                    <a:pt x="219" y="79"/>
                    <a:pt x="210" y="83"/>
                    <a:pt x="202" y="86"/>
                  </a:cubicBezTo>
                  <a:cubicBezTo>
                    <a:pt x="191" y="92"/>
                    <a:pt x="177" y="89"/>
                    <a:pt x="169" y="81"/>
                  </a:cubicBezTo>
                  <a:lnTo>
                    <a:pt x="156" y="68"/>
                  </a:lnTo>
                  <a:cubicBezTo>
                    <a:pt x="144" y="56"/>
                    <a:pt x="126" y="56"/>
                    <a:pt x="116" y="66"/>
                  </a:cubicBezTo>
                  <a:lnTo>
                    <a:pt x="66" y="116"/>
                  </a:lnTo>
                  <a:cubicBezTo>
                    <a:pt x="55" y="127"/>
                    <a:pt x="55" y="144"/>
                    <a:pt x="66" y="154"/>
                  </a:cubicBezTo>
                  <a:lnTo>
                    <a:pt x="80" y="168"/>
                  </a:lnTo>
                  <a:cubicBezTo>
                    <a:pt x="89" y="177"/>
                    <a:pt x="92" y="191"/>
                    <a:pt x="86" y="203"/>
                  </a:cubicBezTo>
                  <a:cubicBezTo>
                    <a:pt x="82" y="211"/>
                    <a:pt x="79" y="220"/>
                    <a:pt x="76" y="228"/>
                  </a:cubicBezTo>
                  <a:cubicBezTo>
                    <a:pt x="72" y="240"/>
                    <a:pt x="60" y="248"/>
                    <a:pt x="48" y="248"/>
                  </a:cubicBezTo>
                  <a:lnTo>
                    <a:pt x="30" y="248"/>
                  </a:lnTo>
                  <a:cubicBezTo>
                    <a:pt x="12" y="248"/>
                    <a:pt x="0" y="260"/>
                    <a:pt x="0" y="275"/>
                  </a:cubicBezTo>
                  <a:lnTo>
                    <a:pt x="0" y="31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0" name="Freeform 430">
              <a:extLst>
                <a:ext uri="{FF2B5EF4-FFF2-40B4-BE49-F238E27FC236}">
                  <a16:creationId xmlns:a16="http://schemas.microsoft.com/office/drawing/2014/main" id="{58ABA30D-ACFB-5962-BBBB-20DF5FCA5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4" name="Freeform 431">
              <a:extLst>
                <a:ext uri="{FF2B5EF4-FFF2-40B4-BE49-F238E27FC236}">
                  <a16:creationId xmlns:a16="http://schemas.microsoft.com/office/drawing/2014/main" id="{A370A2F0-E1C9-5AB5-2138-FD4C0C16D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6000" y="8535227"/>
              <a:ext cx="120611" cy="227643"/>
            </a:xfrm>
            <a:custGeom>
              <a:avLst/>
              <a:gdLst>
                <a:gd name="T0" fmla="*/ 309 w 309"/>
                <a:gd name="T1" fmla="*/ 0 h 619"/>
                <a:gd name="T2" fmla="*/ 274 w 309"/>
                <a:gd name="T3" fmla="*/ 0 h 619"/>
                <a:gd name="T4" fmla="*/ 247 w 309"/>
                <a:gd name="T5" fmla="*/ 27 h 619"/>
                <a:gd name="T6" fmla="*/ 247 w 309"/>
                <a:gd name="T7" fmla="*/ 47 h 619"/>
                <a:gd name="T8" fmla="*/ 227 w 309"/>
                <a:gd name="T9" fmla="*/ 76 h 619"/>
                <a:gd name="T10" fmla="*/ 201 w 309"/>
                <a:gd name="T11" fmla="*/ 86 h 619"/>
                <a:gd name="T12" fmla="*/ 168 w 309"/>
                <a:gd name="T13" fmla="*/ 80 h 619"/>
                <a:gd name="T14" fmla="*/ 156 w 309"/>
                <a:gd name="T15" fmla="*/ 68 h 619"/>
                <a:gd name="T16" fmla="*/ 115 w 309"/>
                <a:gd name="T17" fmla="*/ 66 h 619"/>
                <a:gd name="T18" fmla="*/ 66 w 309"/>
                <a:gd name="T19" fmla="*/ 116 h 619"/>
                <a:gd name="T20" fmla="*/ 66 w 309"/>
                <a:gd name="T21" fmla="*/ 154 h 619"/>
                <a:gd name="T22" fmla="*/ 79 w 309"/>
                <a:gd name="T23" fmla="*/ 168 h 619"/>
                <a:gd name="T24" fmla="*/ 85 w 309"/>
                <a:gd name="T25" fmla="*/ 203 h 619"/>
                <a:gd name="T26" fmla="*/ 75 w 309"/>
                <a:gd name="T27" fmla="*/ 227 h 619"/>
                <a:gd name="T28" fmla="*/ 46 w 309"/>
                <a:gd name="T29" fmla="*/ 247 h 619"/>
                <a:gd name="T30" fmla="*/ 27 w 309"/>
                <a:gd name="T31" fmla="*/ 247 h 619"/>
                <a:gd name="T32" fmla="*/ 0 w 309"/>
                <a:gd name="T33" fmla="*/ 274 h 619"/>
                <a:gd name="T34" fmla="*/ 0 w 309"/>
                <a:gd name="T35" fmla="*/ 345 h 619"/>
                <a:gd name="T36" fmla="*/ 27 w 309"/>
                <a:gd name="T37" fmla="*/ 372 h 619"/>
                <a:gd name="T38" fmla="*/ 46 w 309"/>
                <a:gd name="T39" fmla="*/ 372 h 619"/>
                <a:gd name="T40" fmla="*/ 75 w 309"/>
                <a:gd name="T41" fmla="*/ 392 h 619"/>
                <a:gd name="T42" fmla="*/ 86 w 309"/>
                <a:gd name="T43" fmla="*/ 418 h 619"/>
                <a:gd name="T44" fmla="*/ 80 w 309"/>
                <a:gd name="T45" fmla="*/ 451 h 619"/>
                <a:gd name="T46" fmla="*/ 67 w 309"/>
                <a:gd name="T47" fmla="*/ 463 h 619"/>
                <a:gd name="T48" fmla="*/ 66 w 309"/>
                <a:gd name="T49" fmla="*/ 504 h 619"/>
                <a:gd name="T50" fmla="*/ 115 w 309"/>
                <a:gd name="T51" fmla="*/ 553 h 619"/>
                <a:gd name="T52" fmla="*/ 154 w 309"/>
                <a:gd name="T53" fmla="*/ 553 h 619"/>
                <a:gd name="T54" fmla="*/ 167 w 309"/>
                <a:gd name="T55" fmla="*/ 540 h 619"/>
                <a:gd name="T56" fmla="*/ 202 w 309"/>
                <a:gd name="T57" fmla="*/ 533 h 619"/>
                <a:gd name="T58" fmla="*/ 228 w 309"/>
                <a:gd name="T59" fmla="*/ 544 h 619"/>
                <a:gd name="T60" fmla="*/ 247 w 309"/>
                <a:gd name="T61" fmla="*/ 572 h 619"/>
                <a:gd name="T62" fmla="*/ 247 w 309"/>
                <a:gd name="T63" fmla="*/ 589 h 619"/>
                <a:gd name="T64" fmla="*/ 274 w 309"/>
                <a:gd name="T65" fmla="*/ 619 h 619"/>
                <a:gd name="T66" fmla="*/ 309 w 309"/>
                <a:gd name="T67" fmla="*/ 619 h 619"/>
                <a:gd name="T68" fmla="*/ 309 w 309"/>
                <a:gd name="T69" fmla="*/ 0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9" h="619">
                  <a:moveTo>
                    <a:pt x="309" y="0"/>
                  </a:moveTo>
                  <a:lnTo>
                    <a:pt x="274" y="0"/>
                  </a:lnTo>
                  <a:cubicBezTo>
                    <a:pt x="259" y="0"/>
                    <a:pt x="247" y="12"/>
                    <a:pt x="247" y="27"/>
                  </a:cubicBezTo>
                  <a:lnTo>
                    <a:pt x="247" y="47"/>
                  </a:lnTo>
                  <a:cubicBezTo>
                    <a:pt x="247" y="60"/>
                    <a:pt x="239" y="71"/>
                    <a:pt x="227" y="76"/>
                  </a:cubicBezTo>
                  <a:cubicBezTo>
                    <a:pt x="218" y="79"/>
                    <a:pt x="210" y="82"/>
                    <a:pt x="201" y="86"/>
                  </a:cubicBezTo>
                  <a:cubicBezTo>
                    <a:pt x="190" y="92"/>
                    <a:pt x="177" y="89"/>
                    <a:pt x="168" y="80"/>
                  </a:cubicBezTo>
                  <a:lnTo>
                    <a:pt x="156" y="68"/>
                  </a:lnTo>
                  <a:cubicBezTo>
                    <a:pt x="143" y="55"/>
                    <a:pt x="126" y="55"/>
                    <a:pt x="115" y="66"/>
                  </a:cubicBezTo>
                  <a:lnTo>
                    <a:pt x="66" y="116"/>
                  </a:lnTo>
                  <a:cubicBezTo>
                    <a:pt x="55" y="126"/>
                    <a:pt x="55" y="143"/>
                    <a:pt x="66" y="154"/>
                  </a:cubicBezTo>
                  <a:lnTo>
                    <a:pt x="79" y="168"/>
                  </a:lnTo>
                  <a:cubicBezTo>
                    <a:pt x="88" y="177"/>
                    <a:pt x="91" y="191"/>
                    <a:pt x="85" y="203"/>
                  </a:cubicBezTo>
                  <a:cubicBezTo>
                    <a:pt x="82" y="211"/>
                    <a:pt x="78" y="219"/>
                    <a:pt x="75" y="227"/>
                  </a:cubicBezTo>
                  <a:cubicBezTo>
                    <a:pt x="71" y="239"/>
                    <a:pt x="59" y="247"/>
                    <a:pt x="46" y="247"/>
                  </a:cubicBezTo>
                  <a:lnTo>
                    <a:pt x="27" y="247"/>
                  </a:lnTo>
                  <a:cubicBezTo>
                    <a:pt x="12" y="247"/>
                    <a:pt x="0" y="259"/>
                    <a:pt x="0" y="274"/>
                  </a:cubicBezTo>
                  <a:lnTo>
                    <a:pt x="0" y="345"/>
                  </a:lnTo>
                  <a:cubicBezTo>
                    <a:pt x="0" y="360"/>
                    <a:pt x="12" y="372"/>
                    <a:pt x="27" y="372"/>
                  </a:cubicBezTo>
                  <a:lnTo>
                    <a:pt x="46" y="372"/>
                  </a:lnTo>
                  <a:cubicBezTo>
                    <a:pt x="59" y="372"/>
                    <a:pt x="71" y="380"/>
                    <a:pt x="75" y="392"/>
                  </a:cubicBezTo>
                  <a:cubicBezTo>
                    <a:pt x="78" y="401"/>
                    <a:pt x="82" y="409"/>
                    <a:pt x="86" y="418"/>
                  </a:cubicBezTo>
                  <a:cubicBezTo>
                    <a:pt x="91" y="429"/>
                    <a:pt x="89" y="442"/>
                    <a:pt x="80" y="451"/>
                  </a:cubicBezTo>
                  <a:lnTo>
                    <a:pt x="67" y="463"/>
                  </a:lnTo>
                  <a:cubicBezTo>
                    <a:pt x="55" y="476"/>
                    <a:pt x="55" y="493"/>
                    <a:pt x="66" y="504"/>
                  </a:cubicBezTo>
                  <a:lnTo>
                    <a:pt x="115" y="553"/>
                  </a:lnTo>
                  <a:cubicBezTo>
                    <a:pt x="126" y="564"/>
                    <a:pt x="143" y="564"/>
                    <a:pt x="154" y="553"/>
                  </a:cubicBezTo>
                  <a:lnTo>
                    <a:pt x="167" y="540"/>
                  </a:lnTo>
                  <a:cubicBezTo>
                    <a:pt x="177" y="531"/>
                    <a:pt x="191" y="528"/>
                    <a:pt x="202" y="533"/>
                  </a:cubicBezTo>
                  <a:cubicBezTo>
                    <a:pt x="211" y="537"/>
                    <a:pt x="219" y="541"/>
                    <a:pt x="228" y="544"/>
                  </a:cubicBezTo>
                  <a:cubicBezTo>
                    <a:pt x="239" y="548"/>
                    <a:pt x="247" y="559"/>
                    <a:pt x="247" y="572"/>
                  </a:cubicBezTo>
                  <a:lnTo>
                    <a:pt x="247" y="589"/>
                  </a:lnTo>
                  <a:cubicBezTo>
                    <a:pt x="247" y="607"/>
                    <a:pt x="259" y="619"/>
                    <a:pt x="274" y="619"/>
                  </a:cubicBezTo>
                  <a:lnTo>
                    <a:pt x="309" y="619"/>
                  </a:lnTo>
                  <a:lnTo>
                    <a:pt x="309" y="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5" name="Freeform 432">
              <a:extLst>
                <a:ext uri="{FF2B5EF4-FFF2-40B4-BE49-F238E27FC236}">
                  <a16:creationId xmlns:a16="http://schemas.microsoft.com/office/drawing/2014/main" id="{1FEECAC6-7CE3-CC79-7410-22593791D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1369" y="8598174"/>
              <a:ext cx="55242" cy="102612"/>
            </a:xfrm>
            <a:custGeom>
              <a:avLst/>
              <a:gdLst>
                <a:gd name="T0" fmla="*/ 140 w 140"/>
                <a:gd name="T1" fmla="*/ 280 h 280"/>
                <a:gd name="T2" fmla="*/ 0 w 140"/>
                <a:gd name="T3" fmla="*/ 140 h 280"/>
                <a:gd name="T4" fmla="*/ 140 w 140"/>
                <a:gd name="T5" fmla="*/ 0 h 280"/>
                <a:gd name="T6" fmla="*/ 140 w 140"/>
                <a:gd name="T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280">
                  <a:moveTo>
                    <a:pt x="140" y="280"/>
                  </a:moveTo>
                  <a:cubicBezTo>
                    <a:pt x="63" y="280"/>
                    <a:pt x="0" y="217"/>
                    <a:pt x="0" y="140"/>
                  </a:cubicBezTo>
                  <a:cubicBezTo>
                    <a:pt x="0" y="62"/>
                    <a:pt x="63" y="0"/>
                    <a:pt x="140" y="0"/>
                  </a:cubicBezTo>
                  <a:lnTo>
                    <a:pt x="140" y="28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6" name="Freeform 433">
              <a:extLst>
                <a:ext uri="{FF2B5EF4-FFF2-40B4-BE49-F238E27FC236}">
                  <a16:creationId xmlns:a16="http://schemas.microsoft.com/office/drawing/2014/main" id="{2902AE49-79B0-E047-0D8C-01A33991D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8607" y="8594725"/>
              <a:ext cx="58004" cy="108648"/>
            </a:xfrm>
            <a:custGeom>
              <a:avLst/>
              <a:gdLst>
                <a:gd name="T0" fmla="*/ 148 w 148"/>
                <a:gd name="T1" fmla="*/ 297 h 297"/>
                <a:gd name="T2" fmla="*/ 0 w 148"/>
                <a:gd name="T3" fmla="*/ 149 h 297"/>
                <a:gd name="T4" fmla="*/ 148 w 148"/>
                <a:gd name="T5" fmla="*/ 0 h 297"/>
                <a:gd name="T6" fmla="*/ 148 w 148"/>
                <a:gd name="T7" fmla="*/ 17 h 297"/>
                <a:gd name="T8" fmla="*/ 17 w 148"/>
                <a:gd name="T9" fmla="*/ 149 h 297"/>
                <a:gd name="T10" fmla="*/ 148 w 148"/>
                <a:gd name="T11" fmla="*/ 280 h 297"/>
                <a:gd name="T12" fmla="*/ 148 w 148"/>
                <a:gd name="T1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297">
                  <a:moveTo>
                    <a:pt x="148" y="297"/>
                  </a:moveTo>
                  <a:cubicBezTo>
                    <a:pt x="66" y="297"/>
                    <a:pt x="0" y="230"/>
                    <a:pt x="0" y="149"/>
                  </a:cubicBezTo>
                  <a:cubicBezTo>
                    <a:pt x="0" y="67"/>
                    <a:pt x="66" y="0"/>
                    <a:pt x="148" y="0"/>
                  </a:cubicBezTo>
                  <a:lnTo>
                    <a:pt x="148" y="17"/>
                  </a:lnTo>
                  <a:cubicBezTo>
                    <a:pt x="76" y="17"/>
                    <a:pt x="17" y="76"/>
                    <a:pt x="17" y="149"/>
                  </a:cubicBezTo>
                  <a:cubicBezTo>
                    <a:pt x="17" y="221"/>
                    <a:pt x="76" y="280"/>
                    <a:pt x="148" y="280"/>
                  </a:cubicBezTo>
                  <a:lnTo>
                    <a:pt x="148" y="29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7" name="Freeform 434">
              <a:extLst>
                <a:ext uri="{FF2B5EF4-FFF2-40B4-BE49-F238E27FC236}">
                  <a16:creationId xmlns:a16="http://schemas.microsoft.com/office/drawing/2014/main" id="{D18BB555-B54D-440F-B5C9-40175B11C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2317" y="8532641"/>
              <a:ext cx="124294" cy="233680"/>
            </a:xfrm>
            <a:custGeom>
              <a:avLst/>
              <a:gdLst>
                <a:gd name="T0" fmla="*/ 283 w 318"/>
                <a:gd name="T1" fmla="*/ 636 h 636"/>
                <a:gd name="T2" fmla="*/ 248 w 318"/>
                <a:gd name="T3" fmla="*/ 580 h 636"/>
                <a:gd name="T4" fmla="*/ 208 w 318"/>
                <a:gd name="T5" fmla="*/ 549 h 636"/>
                <a:gd name="T6" fmla="*/ 169 w 318"/>
                <a:gd name="T7" fmla="*/ 567 h 636"/>
                <a:gd name="T8" fmla="*/ 69 w 318"/>
                <a:gd name="T9" fmla="*/ 518 h 636"/>
                <a:gd name="T10" fmla="*/ 83 w 318"/>
                <a:gd name="T11" fmla="*/ 453 h 636"/>
                <a:gd name="T12" fmla="*/ 77 w 318"/>
                <a:gd name="T13" fmla="*/ 403 h 636"/>
                <a:gd name="T14" fmla="*/ 36 w 318"/>
                <a:gd name="T15" fmla="*/ 388 h 636"/>
                <a:gd name="T16" fmla="*/ 0 w 318"/>
                <a:gd name="T17" fmla="*/ 282 h 636"/>
                <a:gd name="T18" fmla="*/ 55 w 318"/>
                <a:gd name="T19" fmla="*/ 247 h 636"/>
                <a:gd name="T20" fmla="*/ 87 w 318"/>
                <a:gd name="T21" fmla="*/ 207 h 636"/>
                <a:gd name="T22" fmla="*/ 69 w 318"/>
                <a:gd name="T23" fmla="*/ 168 h 636"/>
                <a:gd name="T24" fmla="*/ 69 w 318"/>
                <a:gd name="T25" fmla="*/ 118 h 636"/>
                <a:gd name="T26" fmla="*/ 144 w 318"/>
                <a:gd name="T27" fmla="*/ 58 h 636"/>
                <a:gd name="T28" fmla="*/ 183 w 318"/>
                <a:gd name="T29" fmla="*/ 82 h 636"/>
                <a:gd name="T30" fmla="*/ 233 w 318"/>
                <a:gd name="T31" fmla="*/ 76 h 636"/>
                <a:gd name="T32" fmla="*/ 248 w 318"/>
                <a:gd name="T33" fmla="*/ 35 h 636"/>
                <a:gd name="T34" fmla="*/ 318 w 318"/>
                <a:gd name="T35" fmla="*/ 0 h 636"/>
                <a:gd name="T36" fmla="*/ 283 w 318"/>
                <a:gd name="T37" fmla="*/ 16 h 636"/>
                <a:gd name="T38" fmla="*/ 264 w 318"/>
                <a:gd name="T39" fmla="*/ 55 h 636"/>
                <a:gd name="T40" fmla="*/ 214 w 318"/>
                <a:gd name="T41" fmla="*/ 102 h 636"/>
                <a:gd name="T42" fmla="*/ 159 w 318"/>
                <a:gd name="T43" fmla="*/ 82 h 636"/>
                <a:gd name="T44" fmla="*/ 130 w 318"/>
                <a:gd name="T45" fmla="*/ 80 h 636"/>
                <a:gd name="T46" fmla="*/ 75 w 318"/>
                <a:gd name="T47" fmla="*/ 143 h 636"/>
                <a:gd name="T48" fmla="*/ 94 w 318"/>
                <a:gd name="T49" fmla="*/ 170 h 636"/>
                <a:gd name="T50" fmla="*/ 92 w 318"/>
                <a:gd name="T51" fmla="*/ 238 h 636"/>
                <a:gd name="T52" fmla="*/ 36 w 318"/>
                <a:gd name="T53" fmla="*/ 264 h 636"/>
                <a:gd name="T54" fmla="*/ 17 w 318"/>
                <a:gd name="T55" fmla="*/ 353 h 636"/>
                <a:gd name="T56" fmla="*/ 55 w 318"/>
                <a:gd name="T57" fmla="*/ 372 h 636"/>
                <a:gd name="T58" fmla="*/ 102 w 318"/>
                <a:gd name="T59" fmla="*/ 422 h 636"/>
                <a:gd name="T60" fmla="*/ 82 w 318"/>
                <a:gd name="T61" fmla="*/ 477 h 636"/>
                <a:gd name="T62" fmla="*/ 130 w 318"/>
                <a:gd name="T63" fmla="*/ 556 h 636"/>
                <a:gd name="T64" fmla="*/ 171 w 318"/>
                <a:gd name="T65" fmla="*/ 542 h 636"/>
                <a:gd name="T66" fmla="*/ 239 w 318"/>
                <a:gd name="T67" fmla="*/ 544 h 636"/>
                <a:gd name="T68" fmla="*/ 264 w 318"/>
                <a:gd name="T69" fmla="*/ 597 h 636"/>
                <a:gd name="T70" fmla="*/ 318 w 318"/>
                <a:gd name="T71" fmla="*/ 619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8" h="636">
                  <a:moveTo>
                    <a:pt x="318" y="636"/>
                  </a:moveTo>
                  <a:lnTo>
                    <a:pt x="283" y="636"/>
                  </a:lnTo>
                  <a:cubicBezTo>
                    <a:pt x="263" y="636"/>
                    <a:pt x="248" y="619"/>
                    <a:pt x="248" y="597"/>
                  </a:cubicBezTo>
                  <a:lnTo>
                    <a:pt x="248" y="580"/>
                  </a:lnTo>
                  <a:cubicBezTo>
                    <a:pt x="248" y="571"/>
                    <a:pt x="242" y="563"/>
                    <a:pt x="234" y="560"/>
                  </a:cubicBezTo>
                  <a:cubicBezTo>
                    <a:pt x="225" y="557"/>
                    <a:pt x="216" y="553"/>
                    <a:pt x="208" y="549"/>
                  </a:cubicBezTo>
                  <a:cubicBezTo>
                    <a:pt x="199" y="545"/>
                    <a:pt x="189" y="547"/>
                    <a:pt x="182" y="554"/>
                  </a:cubicBezTo>
                  <a:lnTo>
                    <a:pt x="169" y="567"/>
                  </a:lnTo>
                  <a:cubicBezTo>
                    <a:pt x="155" y="581"/>
                    <a:pt x="132" y="581"/>
                    <a:pt x="118" y="567"/>
                  </a:cubicBezTo>
                  <a:lnTo>
                    <a:pt x="69" y="518"/>
                  </a:lnTo>
                  <a:cubicBezTo>
                    <a:pt x="54" y="503"/>
                    <a:pt x="55" y="481"/>
                    <a:pt x="71" y="465"/>
                  </a:cubicBezTo>
                  <a:lnTo>
                    <a:pt x="83" y="453"/>
                  </a:lnTo>
                  <a:cubicBezTo>
                    <a:pt x="89" y="447"/>
                    <a:pt x="91" y="437"/>
                    <a:pt x="87" y="429"/>
                  </a:cubicBezTo>
                  <a:cubicBezTo>
                    <a:pt x="83" y="421"/>
                    <a:pt x="80" y="412"/>
                    <a:pt x="77" y="403"/>
                  </a:cubicBezTo>
                  <a:cubicBezTo>
                    <a:pt x="73" y="394"/>
                    <a:pt x="65" y="388"/>
                    <a:pt x="55" y="388"/>
                  </a:cubicBezTo>
                  <a:lnTo>
                    <a:pt x="36" y="388"/>
                  </a:lnTo>
                  <a:cubicBezTo>
                    <a:pt x="16" y="388"/>
                    <a:pt x="0" y="372"/>
                    <a:pt x="0" y="353"/>
                  </a:cubicBezTo>
                  <a:lnTo>
                    <a:pt x="0" y="282"/>
                  </a:lnTo>
                  <a:cubicBezTo>
                    <a:pt x="0" y="263"/>
                    <a:pt x="16" y="247"/>
                    <a:pt x="36" y="247"/>
                  </a:cubicBezTo>
                  <a:lnTo>
                    <a:pt x="55" y="247"/>
                  </a:lnTo>
                  <a:cubicBezTo>
                    <a:pt x="65" y="247"/>
                    <a:pt x="73" y="241"/>
                    <a:pt x="77" y="232"/>
                  </a:cubicBezTo>
                  <a:cubicBezTo>
                    <a:pt x="80" y="224"/>
                    <a:pt x="83" y="215"/>
                    <a:pt x="87" y="207"/>
                  </a:cubicBezTo>
                  <a:cubicBezTo>
                    <a:pt x="91" y="199"/>
                    <a:pt x="89" y="188"/>
                    <a:pt x="82" y="182"/>
                  </a:cubicBezTo>
                  <a:lnTo>
                    <a:pt x="69" y="168"/>
                  </a:lnTo>
                  <a:cubicBezTo>
                    <a:pt x="62" y="161"/>
                    <a:pt x="58" y="152"/>
                    <a:pt x="58" y="143"/>
                  </a:cubicBezTo>
                  <a:cubicBezTo>
                    <a:pt x="58" y="133"/>
                    <a:pt x="62" y="124"/>
                    <a:pt x="69" y="118"/>
                  </a:cubicBezTo>
                  <a:lnTo>
                    <a:pt x="118" y="68"/>
                  </a:lnTo>
                  <a:cubicBezTo>
                    <a:pt x="125" y="61"/>
                    <a:pt x="134" y="57"/>
                    <a:pt x="144" y="58"/>
                  </a:cubicBezTo>
                  <a:cubicBezTo>
                    <a:pt x="154" y="58"/>
                    <a:pt x="163" y="62"/>
                    <a:pt x="170" y="70"/>
                  </a:cubicBezTo>
                  <a:lnTo>
                    <a:pt x="183" y="82"/>
                  </a:lnTo>
                  <a:cubicBezTo>
                    <a:pt x="189" y="89"/>
                    <a:pt x="199" y="90"/>
                    <a:pt x="207" y="87"/>
                  </a:cubicBezTo>
                  <a:cubicBezTo>
                    <a:pt x="215" y="83"/>
                    <a:pt x="224" y="79"/>
                    <a:pt x="233" y="76"/>
                  </a:cubicBezTo>
                  <a:cubicBezTo>
                    <a:pt x="242" y="73"/>
                    <a:pt x="248" y="64"/>
                    <a:pt x="248" y="55"/>
                  </a:cubicBezTo>
                  <a:lnTo>
                    <a:pt x="248" y="35"/>
                  </a:lnTo>
                  <a:cubicBezTo>
                    <a:pt x="248" y="16"/>
                    <a:pt x="264" y="0"/>
                    <a:pt x="283" y="0"/>
                  </a:cubicBezTo>
                  <a:lnTo>
                    <a:pt x="318" y="0"/>
                  </a:lnTo>
                  <a:lnTo>
                    <a:pt x="318" y="16"/>
                  </a:lnTo>
                  <a:lnTo>
                    <a:pt x="283" y="16"/>
                  </a:lnTo>
                  <a:cubicBezTo>
                    <a:pt x="273" y="16"/>
                    <a:pt x="264" y="25"/>
                    <a:pt x="264" y="35"/>
                  </a:cubicBezTo>
                  <a:lnTo>
                    <a:pt x="264" y="55"/>
                  </a:lnTo>
                  <a:cubicBezTo>
                    <a:pt x="264" y="71"/>
                    <a:pt x="254" y="86"/>
                    <a:pt x="238" y="92"/>
                  </a:cubicBezTo>
                  <a:cubicBezTo>
                    <a:pt x="230" y="95"/>
                    <a:pt x="222" y="98"/>
                    <a:pt x="214" y="102"/>
                  </a:cubicBezTo>
                  <a:cubicBezTo>
                    <a:pt x="200" y="109"/>
                    <a:pt x="183" y="106"/>
                    <a:pt x="171" y="94"/>
                  </a:cubicBezTo>
                  <a:lnTo>
                    <a:pt x="159" y="82"/>
                  </a:lnTo>
                  <a:cubicBezTo>
                    <a:pt x="154" y="77"/>
                    <a:pt x="149" y="75"/>
                    <a:pt x="144" y="75"/>
                  </a:cubicBezTo>
                  <a:cubicBezTo>
                    <a:pt x="139" y="74"/>
                    <a:pt x="134" y="76"/>
                    <a:pt x="130" y="80"/>
                  </a:cubicBezTo>
                  <a:lnTo>
                    <a:pt x="80" y="130"/>
                  </a:lnTo>
                  <a:cubicBezTo>
                    <a:pt x="77" y="133"/>
                    <a:pt x="75" y="138"/>
                    <a:pt x="75" y="143"/>
                  </a:cubicBezTo>
                  <a:cubicBezTo>
                    <a:pt x="75" y="148"/>
                    <a:pt x="77" y="153"/>
                    <a:pt x="80" y="156"/>
                  </a:cubicBezTo>
                  <a:lnTo>
                    <a:pt x="94" y="170"/>
                  </a:lnTo>
                  <a:cubicBezTo>
                    <a:pt x="106" y="182"/>
                    <a:pt x="109" y="199"/>
                    <a:pt x="102" y="214"/>
                  </a:cubicBezTo>
                  <a:cubicBezTo>
                    <a:pt x="98" y="222"/>
                    <a:pt x="95" y="230"/>
                    <a:pt x="92" y="238"/>
                  </a:cubicBezTo>
                  <a:cubicBezTo>
                    <a:pt x="87" y="253"/>
                    <a:pt x="72" y="264"/>
                    <a:pt x="55" y="264"/>
                  </a:cubicBezTo>
                  <a:lnTo>
                    <a:pt x="36" y="264"/>
                  </a:lnTo>
                  <a:cubicBezTo>
                    <a:pt x="26" y="264"/>
                    <a:pt x="17" y="272"/>
                    <a:pt x="17" y="282"/>
                  </a:cubicBezTo>
                  <a:lnTo>
                    <a:pt x="17" y="353"/>
                  </a:lnTo>
                  <a:cubicBezTo>
                    <a:pt x="17" y="363"/>
                    <a:pt x="26" y="372"/>
                    <a:pt x="36" y="372"/>
                  </a:cubicBezTo>
                  <a:lnTo>
                    <a:pt x="55" y="372"/>
                  </a:lnTo>
                  <a:cubicBezTo>
                    <a:pt x="72" y="372"/>
                    <a:pt x="87" y="382"/>
                    <a:pt x="92" y="398"/>
                  </a:cubicBezTo>
                  <a:cubicBezTo>
                    <a:pt x="95" y="406"/>
                    <a:pt x="99" y="414"/>
                    <a:pt x="102" y="422"/>
                  </a:cubicBezTo>
                  <a:cubicBezTo>
                    <a:pt x="109" y="436"/>
                    <a:pt x="106" y="453"/>
                    <a:pt x="95" y="465"/>
                  </a:cubicBezTo>
                  <a:lnTo>
                    <a:pt x="82" y="477"/>
                  </a:lnTo>
                  <a:cubicBezTo>
                    <a:pt x="74" y="486"/>
                    <a:pt x="73" y="498"/>
                    <a:pt x="80" y="506"/>
                  </a:cubicBezTo>
                  <a:lnTo>
                    <a:pt x="130" y="556"/>
                  </a:lnTo>
                  <a:cubicBezTo>
                    <a:pt x="138" y="563"/>
                    <a:pt x="150" y="563"/>
                    <a:pt x="157" y="556"/>
                  </a:cubicBezTo>
                  <a:lnTo>
                    <a:pt x="171" y="542"/>
                  </a:lnTo>
                  <a:cubicBezTo>
                    <a:pt x="182" y="530"/>
                    <a:pt x="200" y="527"/>
                    <a:pt x="215" y="534"/>
                  </a:cubicBezTo>
                  <a:cubicBezTo>
                    <a:pt x="223" y="538"/>
                    <a:pt x="231" y="541"/>
                    <a:pt x="239" y="544"/>
                  </a:cubicBezTo>
                  <a:cubicBezTo>
                    <a:pt x="254" y="549"/>
                    <a:pt x="264" y="564"/>
                    <a:pt x="264" y="580"/>
                  </a:cubicBezTo>
                  <a:lnTo>
                    <a:pt x="264" y="597"/>
                  </a:lnTo>
                  <a:cubicBezTo>
                    <a:pt x="264" y="610"/>
                    <a:pt x="272" y="619"/>
                    <a:pt x="283" y="619"/>
                  </a:cubicBezTo>
                  <a:lnTo>
                    <a:pt x="318" y="619"/>
                  </a:lnTo>
                  <a:lnTo>
                    <a:pt x="318" y="636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8" name="Freeform 435">
              <a:extLst>
                <a:ext uri="{FF2B5EF4-FFF2-40B4-BE49-F238E27FC236}">
                  <a16:creationId xmlns:a16="http://schemas.microsoft.com/office/drawing/2014/main" id="{C90BC195-AAD7-4DC3-93B8-5513AACDA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6720" y="8721481"/>
              <a:ext cx="116007" cy="54324"/>
            </a:xfrm>
            <a:custGeom>
              <a:avLst/>
              <a:gdLst>
                <a:gd name="T0" fmla="*/ 297 w 297"/>
                <a:gd name="T1" fmla="*/ 149 h 149"/>
                <a:gd name="T2" fmla="*/ 281 w 297"/>
                <a:gd name="T3" fmla="*/ 149 h 149"/>
                <a:gd name="T4" fmla="*/ 149 w 297"/>
                <a:gd name="T5" fmla="*/ 17 h 149"/>
                <a:gd name="T6" fmla="*/ 17 w 297"/>
                <a:gd name="T7" fmla="*/ 149 h 149"/>
                <a:gd name="T8" fmla="*/ 0 w 297"/>
                <a:gd name="T9" fmla="*/ 149 h 149"/>
                <a:gd name="T10" fmla="*/ 149 w 297"/>
                <a:gd name="T11" fmla="*/ 0 h 149"/>
                <a:gd name="T12" fmla="*/ 297 w 297"/>
                <a:gd name="T1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49">
                  <a:moveTo>
                    <a:pt x="297" y="149"/>
                  </a:moveTo>
                  <a:lnTo>
                    <a:pt x="281" y="149"/>
                  </a:lnTo>
                  <a:cubicBezTo>
                    <a:pt x="281" y="76"/>
                    <a:pt x="221" y="17"/>
                    <a:pt x="149" y="17"/>
                  </a:cubicBezTo>
                  <a:cubicBezTo>
                    <a:pt x="76" y="17"/>
                    <a:pt x="17" y="76"/>
                    <a:pt x="17" y="149"/>
                  </a:cubicBezTo>
                  <a:lnTo>
                    <a:pt x="0" y="149"/>
                  </a:lnTo>
                  <a:cubicBezTo>
                    <a:pt x="0" y="67"/>
                    <a:pt x="67" y="0"/>
                    <a:pt x="149" y="0"/>
                  </a:cubicBezTo>
                  <a:cubicBezTo>
                    <a:pt x="231" y="0"/>
                    <a:pt x="297" y="67"/>
                    <a:pt x="297" y="149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9" name="Freeform 436">
              <a:extLst>
                <a:ext uri="{FF2B5EF4-FFF2-40B4-BE49-F238E27FC236}">
                  <a16:creationId xmlns:a16="http://schemas.microsoft.com/office/drawing/2014/main" id="{C9AB3F55-61EF-D168-9660-2804241EF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0431" y="8659396"/>
              <a:ext cx="248587" cy="116409"/>
            </a:xfrm>
            <a:custGeom>
              <a:avLst/>
              <a:gdLst>
                <a:gd name="T0" fmla="*/ 619 w 636"/>
                <a:gd name="T1" fmla="*/ 318 h 318"/>
                <a:gd name="T2" fmla="*/ 600 w 636"/>
                <a:gd name="T3" fmla="*/ 264 h 318"/>
                <a:gd name="T4" fmla="*/ 544 w 636"/>
                <a:gd name="T5" fmla="*/ 238 h 318"/>
                <a:gd name="T6" fmla="*/ 541 w 636"/>
                <a:gd name="T7" fmla="*/ 171 h 318"/>
                <a:gd name="T8" fmla="*/ 556 w 636"/>
                <a:gd name="T9" fmla="*/ 130 h 318"/>
                <a:gd name="T10" fmla="*/ 479 w 636"/>
                <a:gd name="T11" fmla="*/ 80 h 318"/>
                <a:gd name="T12" fmla="*/ 421 w 636"/>
                <a:gd name="T13" fmla="*/ 102 h 318"/>
                <a:gd name="T14" fmla="*/ 372 w 636"/>
                <a:gd name="T15" fmla="*/ 55 h 318"/>
                <a:gd name="T16" fmla="*/ 353 w 636"/>
                <a:gd name="T17" fmla="*/ 17 h 318"/>
                <a:gd name="T18" fmla="*/ 264 w 636"/>
                <a:gd name="T19" fmla="*/ 36 h 318"/>
                <a:gd name="T20" fmla="*/ 238 w 636"/>
                <a:gd name="T21" fmla="*/ 92 h 318"/>
                <a:gd name="T22" fmla="*/ 171 w 636"/>
                <a:gd name="T23" fmla="*/ 94 h 318"/>
                <a:gd name="T24" fmla="*/ 143 w 636"/>
                <a:gd name="T25" fmla="*/ 75 h 318"/>
                <a:gd name="T26" fmla="*/ 80 w 636"/>
                <a:gd name="T27" fmla="*/ 130 h 318"/>
                <a:gd name="T28" fmla="*/ 94 w 636"/>
                <a:gd name="T29" fmla="*/ 170 h 318"/>
                <a:gd name="T30" fmla="*/ 91 w 636"/>
                <a:gd name="T31" fmla="*/ 239 h 318"/>
                <a:gd name="T32" fmla="*/ 38 w 636"/>
                <a:gd name="T33" fmla="*/ 264 h 318"/>
                <a:gd name="T34" fmla="*/ 17 w 636"/>
                <a:gd name="T35" fmla="*/ 318 h 318"/>
                <a:gd name="T36" fmla="*/ 0 w 636"/>
                <a:gd name="T37" fmla="*/ 283 h 318"/>
                <a:gd name="T38" fmla="*/ 56 w 636"/>
                <a:gd name="T39" fmla="*/ 247 h 318"/>
                <a:gd name="T40" fmla="*/ 86 w 636"/>
                <a:gd name="T41" fmla="*/ 207 h 318"/>
                <a:gd name="T42" fmla="*/ 68 w 636"/>
                <a:gd name="T43" fmla="*/ 168 h 318"/>
                <a:gd name="T44" fmla="*/ 68 w 636"/>
                <a:gd name="T45" fmla="*/ 118 h 318"/>
                <a:gd name="T46" fmla="*/ 144 w 636"/>
                <a:gd name="T47" fmla="*/ 58 h 318"/>
                <a:gd name="T48" fmla="*/ 183 w 636"/>
                <a:gd name="T49" fmla="*/ 83 h 318"/>
                <a:gd name="T50" fmla="*/ 232 w 636"/>
                <a:gd name="T51" fmla="*/ 76 h 318"/>
                <a:gd name="T52" fmla="*/ 247 w 636"/>
                <a:gd name="T53" fmla="*/ 36 h 318"/>
                <a:gd name="T54" fmla="*/ 353 w 636"/>
                <a:gd name="T55" fmla="*/ 0 h 318"/>
                <a:gd name="T56" fmla="*/ 389 w 636"/>
                <a:gd name="T57" fmla="*/ 55 h 318"/>
                <a:gd name="T58" fmla="*/ 428 w 636"/>
                <a:gd name="T59" fmla="*/ 87 h 318"/>
                <a:gd name="T60" fmla="*/ 467 w 636"/>
                <a:gd name="T61" fmla="*/ 68 h 318"/>
                <a:gd name="T62" fmla="*/ 567 w 636"/>
                <a:gd name="T63" fmla="*/ 118 h 318"/>
                <a:gd name="T64" fmla="*/ 553 w 636"/>
                <a:gd name="T65" fmla="*/ 183 h 318"/>
                <a:gd name="T66" fmla="*/ 560 w 636"/>
                <a:gd name="T67" fmla="*/ 232 h 318"/>
                <a:gd name="T68" fmla="*/ 600 w 636"/>
                <a:gd name="T69" fmla="*/ 247 h 318"/>
                <a:gd name="T70" fmla="*/ 636 w 636"/>
                <a:gd name="T71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6" h="318">
                  <a:moveTo>
                    <a:pt x="636" y="318"/>
                  </a:moveTo>
                  <a:lnTo>
                    <a:pt x="619" y="318"/>
                  </a:lnTo>
                  <a:lnTo>
                    <a:pt x="619" y="283"/>
                  </a:lnTo>
                  <a:cubicBezTo>
                    <a:pt x="619" y="272"/>
                    <a:pt x="611" y="264"/>
                    <a:pt x="600" y="264"/>
                  </a:cubicBezTo>
                  <a:lnTo>
                    <a:pt x="581" y="264"/>
                  </a:lnTo>
                  <a:cubicBezTo>
                    <a:pt x="564" y="264"/>
                    <a:pt x="549" y="253"/>
                    <a:pt x="544" y="238"/>
                  </a:cubicBezTo>
                  <a:cubicBezTo>
                    <a:pt x="541" y="230"/>
                    <a:pt x="538" y="221"/>
                    <a:pt x="534" y="214"/>
                  </a:cubicBezTo>
                  <a:cubicBezTo>
                    <a:pt x="527" y="199"/>
                    <a:pt x="530" y="182"/>
                    <a:pt x="541" y="171"/>
                  </a:cubicBezTo>
                  <a:lnTo>
                    <a:pt x="554" y="158"/>
                  </a:lnTo>
                  <a:cubicBezTo>
                    <a:pt x="563" y="149"/>
                    <a:pt x="563" y="137"/>
                    <a:pt x="556" y="130"/>
                  </a:cubicBezTo>
                  <a:lnTo>
                    <a:pt x="506" y="80"/>
                  </a:lnTo>
                  <a:cubicBezTo>
                    <a:pt x="499" y="73"/>
                    <a:pt x="486" y="73"/>
                    <a:pt x="479" y="80"/>
                  </a:cubicBezTo>
                  <a:lnTo>
                    <a:pt x="466" y="94"/>
                  </a:lnTo>
                  <a:cubicBezTo>
                    <a:pt x="454" y="105"/>
                    <a:pt x="436" y="109"/>
                    <a:pt x="421" y="102"/>
                  </a:cubicBezTo>
                  <a:cubicBezTo>
                    <a:pt x="414" y="98"/>
                    <a:pt x="406" y="95"/>
                    <a:pt x="398" y="92"/>
                  </a:cubicBezTo>
                  <a:cubicBezTo>
                    <a:pt x="382" y="86"/>
                    <a:pt x="372" y="72"/>
                    <a:pt x="372" y="55"/>
                  </a:cubicBezTo>
                  <a:lnTo>
                    <a:pt x="372" y="36"/>
                  </a:lnTo>
                  <a:cubicBezTo>
                    <a:pt x="372" y="25"/>
                    <a:pt x="363" y="17"/>
                    <a:pt x="353" y="17"/>
                  </a:cubicBezTo>
                  <a:lnTo>
                    <a:pt x="283" y="17"/>
                  </a:lnTo>
                  <a:cubicBezTo>
                    <a:pt x="272" y="17"/>
                    <a:pt x="264" y="25"/>
                    <a:pt x="264" y="36"/>
                  </a:cubicBezTo>
                  <a:lnTo>
                    <a:pt x="264" y="55"/>
                  </a:lnTo>
                  <a:cubicBezTo>
                    <a:pt x="264" y="72"/>
                    <a:pt x="253" y="86"/>
                    <a:pt x="238" y="92"/>
                  </a:cubicBezTo>
                  <a:cubicBezTo>
                    <a:pt x="230" y="95"/>
                    <a:pt x="221" y="98"/>
                    <a:pt x="214" y="102"/>
                  </a:cubicBezTo>
                  <a:cubicBezTo>
                    <a:pt x="199" y="109"/>
                    <a:pt x="182" y="106"/>
                    <a:pt x="171" y="94"/>
                  </a:cubicBezTo>
                  <a:lnTo>
                    <a:pt x="158" y="82"/>
                  </a:lnTo>
                  <a:cubicBezTo>
                    <a:pt x="154" y="77"/>
                    <a:pt x="148" y="75"/>
                    <a:pt x="143" y="75"/>
                  </a:cubicBezTo>
                  <a:cubicBezTo>
                    <a:pt x="138" y="74"/>
                    <a:pt x="133" y="76"/>
                    <a:pt x="130" y="80"/>
                  </a:cubicBezTo>
                  <a:lnTo>
                    <a:pt x="80" y="130"/>
                  </a:lnTo>
                  <a:cubicBezTo>
                    <a:pt x="73" y="137"/>
                    <a:pt x="73" y="149"/>
                    <a:pt x="80" y="156"/>
                  </a:cubicBezTo>
                  <a:lnTo>
                    <a:pt x="94" y="170"/>
                  </a:lnTo>
                  <a:cubicBezTo>
                    <a:pt x="105" y="182"/>
                    <a:pt x="109" y="200"/>
                    <a:pt x="101" y="214"/>
                  </a:cubicBezTo>
                  <a:cubicBezTo>
                    <a:pt x="98" y="222"/>
                    <a:pt x="94" y="231"/>
                    <a:pt x="91" y="239"/>
                  </a:cubicBezTo>
                  <a:cubicBezTo>
                    <a:pt x="86" y="254"/>
                    <a:pt x="72" y="264"/>
                    <a:pt x="56" y="264"/>
                  </a:cubicBezTo>
                  <a:lnTo>
                    <a:pt x="38" y="264"/>
                  </a:lnTo>
                  <a:cubicBezTo>
                    <a:pt x="26" y="264"/>
                    <a:pt x="17" y="272"/>
                    <a:pt x="17" y="283"/>
                  </a:cubicBezTo>
                  <a:lnTo>
                    <a:pt x="17" y="318"/>
                  </a:lnTo>
                  <a:lnTo>
                    <a:pt x="0" y="318"/>
                  </a:lnTo>
                  <a:lnTo>
                    <a:pt x="0" y="283"/>
                  </a:lnTo>
                  <a:cubicBezTo>
                    <a:pt x="0" y="262"/>
                    <a:pt x="16" y="247"/>
                    <a:pt x="38" y="247"/>
                  </a:cubicBezTo>
                  <a:lnTo>
                    <a:pt x="56" y="247"/>
                  </a:lnTo>
                  <a:cubicBezTo>
                    <a:pt x="65" y="247"/>
                    <a:pt x="73" y="242"/>
                    <a:pt x="76" y="233"/>
                  </a:cubicBezTo>
                  <a:cubicBezTo>
                    <a:pt x="79" y="225"/>
                    <a:pt x="82" y="216"/>
                    <a:pt x="86" y="207"/>
                  </a:cubicBezTo>
                  <a:cubicBezTo>
                    <a:pt x="90" y="199"/>
                    <a:pt x="89" y="189"/>
                    <a:pt x="82" y="182"/>
                  </a:cubicBezTo>
                  <a:lnTo>
                    <a:pt x="68" y="168"/>
                  </a:lnTo>
                  <a:cubicBezTo>
                    <a:pt x="61" y="162"/>
                    <a:pt x="58" y="153"/>
                    <a:pt x="58" y="143"/>
                  </a:cubicBezTo>
                  <a:cubicBezTo>
                    <a:pt x="58" y="134"/>
                    <a:pt x="61" y="125"/>
                    <a:pt x="68" y="118"/>
                  </a:cubicBezTo>
                  <a:lnTo>
                    <a:pt x="118" y="68"/>
                  </a:lnTo>
                  <a:cubicBezTo>
                    <a:pt x="125" y="61"/>
                    <a:pt x="133" y="58"/>
                    <a:pt x="144" y="58"/>
                  </a:cubicBezTo>
                  <a:cubicBezTo>
                    <a:pt x="153" y="58"/>
                    <a:pt x="163" y="63"/>
                    <a:pt x="170" y="70"/>
                  </a:cubicBezTo>
                  <a:lnTo>
                    <a:pt x="183" y="83"/>
                  </a:lnTo>
                  <a:cubicBezTo>
                    <a:pt x="189" y="89"/>
                    <a:pt x="198" y="91"/>
                    <a:pt x="206" y="87"/>
                  </a:cubicBezTo>
                  <a:cubicBezTo>
                    <a:pt x="215" y="83"/>
                    <a:pt x="223" y="79"/>
                    <a:pt x="232" y="76"/>
                  </a:cubicBezTo>
                  <a:cubicBezTo>
                    <a:pt x="241" y="73"/>
                    <a:pt x="247" y="64"/>
                    <a:pt x="247" y="55"/>
                  </a:cubicBezTo>
                  <a:lnTo>
                    <a:pt x="247" y="36"/>
                  </a:lnTo>
                  <a:cubicBezTo>
                    <a:pt x="247" y="16"/>
                    <a:pt x="263" y="0"/>
                    <a:pt x="283" y="0"/>
                  </a:cubicBezTo>
                  <a:lnTo>
                    <a:pt x="353" y="0"/>
                  </a:lnTo>
                  <a:cubicBezTo>
                    <a:pt x="373" y="0"/>
                    <a:pt x="389" y="16"/>
                    <a:pt x="389" y="36"/>
                  </a:cubicBezTo>
                  <a:lnTo>
                    <a:pt x="389" y="55"/>
                  </a:lnTo>
                  <a:cubicBezTo>
                    <a:pt x="389" y="64"/>
                    <a:pt x="394" y="73"/>
                    <a:pt x="403" y="76"/>
                  </a:cubicBezTo>
                  <a:cubicBezTo>
                    <a:pt x="412" y="79"/>
                    <a:pt x="420" y="83"/>
                    <a:pt x="428" y="87"/>
                  </a:cubicBezTo>
                  <a:cubicBezTo>
                    <a:pt x="437" y="91"/>
                    <a:pt x="447" y="89"/>
                    <a:pt x="454" y="82"/>
                  </a:cubicBezTo>
                  <a:lnTo>
                    <a:pt x="467" y="68"/>
                  </a:lnTo>
                  <a:cubicBezTo>
                    <a:pt x="481" y="55"/>
                    <a:pt x="504" y="55"/>
                    <a:pt x="518" y="68"/>
                  </a:cubicBezTo>
                  <a:lnTo>
                    <a:pt x="567" y="118"/>
                  </a:lnTo>
                  <a:cubicBezTo>
                    <a:pt x="582" y="132"/>
                    <a:pt x="581" y="155"/>
                    <a:pt x="566" y="170"/>
                  </a:cubicBezTo>
                  <a:lnTo>
                    <a:pt x="553" y="183"/>
                  </a:lnTo>
                  <a:cubicBezTo>
                    <a:pt x="547" y="189"/>
                    <a:pt x="545" y="199"/>
                    <a:pt x="549" y="206"/>
                  </a:cubicBezTo>
                  <a:cubicBezTo>
                    <a:pt x="553" y="215"/>
                    <a:pt x="556" y="224"/>
                    <a:pt x="560" y="232"/>
                  </a:cubicBezTo>
                  <a:cubicBezTo>
                    <a:pt x="563" y="241"/>
                    <a:pt x="571" y="247"/>
                    <a:pt x="581" y="247"/>
                  </a:cubicBezTo>
                  <a:lnTo>
                    <a:pt x="600" y="247"/>
                  </a:lnTo>
                  <a:cubicBezTo>
                    <a:pt x="620" y="247"/>
                    <a:pt x="636" y="263"/>
                    <a:pt x="636" y="283"/>
                  </a:cubicBezTo>
                  <a:lnTo>
                    <a:pt x="636" y="318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0" name="Freeform 437">
              <a:extLst>
                <a:ext uri="{FF2B5EF4-FFF2-40B4-BE49-F238E27FC236}">
                  <a16:creationId xmlns:a16="http://schemas.microsoft.com/office/drawing/2014/main" id="{C3E1DE01-8495-55DD-0142-BEF229745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6392" y="8463658"/>
              <a:ext cx="446536" cy="309561"/>
            </a:xfrm>
            <a:custGeom>
              <a:avLst/>
              <a:gdLst>
                <a:gd name="T0" fmla="*/ 17 w 1143"/>
                <a:gd name="T1" fmla="*/ 96 h 844"/>
                <a:gd name="T2" fmla="*/ 17 w 1143"/>
                <a:gd name="T3" fmla="*/ 775 h 844"/>
                <a:gd name="T4" fmla="*/ 69 w 1143"/>
                <a:gd name="T5" fmla="*/ 827 h 844"/>
                <a:gd name="T6" fmla="*/ 122 w 1143"/>
                <a:gd name="T7" fmla="*/ 775 h 844"/>
                <a:gd name="T8" fmla="*/ 122 w 1143"/>
                <a:gd name="T9" fmla="*/ 96 h 844"/>
                <a:gd name="T10" fmla="*/ 17 w 1143"/>
                <a:gd name="T11" fmla="*/ 96 h 844"/>
                <a:gd name="T12" fmla="*/ 69 w 1143"/>
                <a:gd name="T13" fmla="*/ 844 h 844"/>
                <a:gd name="T14" fmla="*/ 0 w 1143"/>
                <a:gd name="T15" fmla="*/ 775 h 844"/>
                <a:gd name="T16" fmla="*/ 0 w 1143"/>
                <a:gd name="T17" fmla="*/ 80 h 844"/>
                <a:gd name="T18" fmla="*/ 122 w 1143"/>
                <a:gd name="T19" fmla="*/ 80 h 844"/>
                <a:gd name="T20" fmla="*/ 122 w 1143"/>
                <a:gd name="T21" fmla="*/ 0 h 844"/>
                <a:gd name="T22" fmla="*/ 455 w 1143"/>
                <a:gd name="T23" fmla="*/ 0 h 844"/>
                <a:gd name="T24" fmla="*/ 525 w 1143"/>
                <a:gd name="T25" fmla="*/ 98 h 844"/>
                <a:gd name="T26" fmla="*/ 1143 w 1143"/>
                <a:gd name="T27" fmla="*/ 98 h 844"/>
                <a:gd name="T28" fmla="*/ 1143 w 1143"/>
                <a:gd name="T29" fmla="*/ 150 h 844"/>
                <a:gd name="T30" fmla="*/ 1126 w 1143"/>
                <a:gd name="T31" fmla="*/ 150 h 844"/>
                <a:gd name="T32" fmla="*/ 1126 w 1143"/>
                <a:gd name="T33" fmla="*/ 114 h 844"/>
                <a:gd name="T34" fmla="*/ 516 w 1143"/>
                <a:gd name="T35" fmla="*/ 114 h 844"/>
                <a:gd name="T36" fmla="*/ 447 w 1143"/>
                <a:gd name="T37" fmla="*/ 17 h 844"/>
                <a:gd name="T38" fmla="*/ 138 w 1143"/>
                <a:gd name="T39" fmla="*/ 17 h 844"/>
                <a:gd name="T40" fmla="*/ 138 w 1143"/>
                <a:gd name="T41" fmla="*/ 775 h 844"/>
                <a:gd name="T42" fmla="*/ 69 w 1143"/>
                <a:gd name="T43" fmla="*/ 844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3" h="844">
                  <a:moveTo>
                    <a:pt x="17" y="96"/>
                  </a:moveTo>
                  <a:lnTo>
                    <a:pt x="17" y="775"/>
                  </a:lnTo>
                  <a:cubicBezTo>
                    <a:pt x="17" y="804"/>
                    <a:pt x="40" y="827"/>
                    <a:pt x="69" y="827"/>
                  </a:cubicBezTo>
                  <a:cubicBezTo>
                    <a:pt x="98" y="827"/>
                    <a:pt x="122" y="804"/>
                    <a:pt x="122" y="775"/>
                  </a:cubicBezTo>
                  <a:lnTo>
                    <a:pt x="122" y="96"/>
                  </a:lnTo>
                  <a:lnTo>
                    <a:pt x="17" y="96"/>
                  </a:lnTo>
                  <a:close/>
                  <a:moveTo>
                    <a:pt x="69" y="844"/>
                  </a:moveTo>
                  <a:cubicBezTo>
                    <a:pt x="31" y="844"/>
                    <a:pt x="0" y="813"/>
                    <a:pt x="0" y="775"/>
                  </a:cubicBezTo>
                  <a:lnTo>
                    <a:pt x="0" y="80"/>
                  </a:lnTo>
                  <a:lnTo>
                    <a:pt x="122" y="80"/>
                  </a:lnTo>
                  <a:lnTo>
                    <a:pt x="122" y="0"/>
                  </a:lnTo>
                  <a:lnTo>
                    <a:pt x="455" y="0"/>
                  </a:lnTo>
                  <a:lnTo>
                    <a:pt x="525" y="98"/>
                  </a:lnTo>
                  <a:lnTo>
                    <a:pt x="1143" y="98"/>
                  </a:lnTo>
                  <a:lnTo>
                    <a:pt x="1143" y="150"/>
                  </a:lnTo>
                  <a:lnTo>
                    <a:pt x="1126" y="150"/>
                  </a:lnTo>
                  <a:lnTo>
                    <a:pt x="1126" y="114"/>
                  </a:lnTo>
                  <a:lnTo>
                    <a:pt x="516" y="114"/>
                  </a:lnTo>
                  <a:lnTo>
                    <a:pt x="447" y="17"/>
                  </a:lnTo>
                  <a:lnTo>
                    <a:pt x="138" y="17"/>
                  </a:lnTo>
                  <a:lnTo>
                    <a:pt x="138" y="775"/>
                  </a:lnTo>
                  <a:cubicBezTo>
                    <a:pt x="138" y="813"/>
                    <a:pt x="107" y="844"/>
                    <a:pt x="69" y="844"/>
                  </a:cubicBez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1" name="Freeform 438">
              <a:extLst>
                <a:ext uri="{FF2B5EF4-FFF2-40B4-BE49-F238E27FC236}">
                  <a16:creationId xmlns:a16="http://schemas.microsoft.com/office/drawing/2014/main" id="{0ED1081F-62FF-6800-D28F-48B81B730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9254" y="8410196"/>
              <a:ext cx="334212" cy="92265"/>
            </a:xfrm>
            <a:custGeom>
              <a:avLst/>
              <a:gdLst>
                <a:gd name="T0" fmla="*/ 363 w 363"/>
                <a:gd name="T1" fmla="*/ 107 h 107"/>
                <a:gd name="T2" fmla="*/ 355 w 363"/>
                <a:gd name="T3" fmla="*/ 107 h 107"/>
                <a:gd name="T4" fmla="*/ 355 w 363"/>
                <a:gd name="T5" fmla="*/ 7 h 107"/>
                <a:gd name="T6" fmla="*/ 8 w 363"/>
                <a:gd name="T7" fmla="*/ 7 h 107"/>
                <a:gd name="T8" fmla="*/ 8 w 363"/>
                <a:gd name="T9" fmla="*/ 65 h 107"/>
                <a:gd name="T10" fmla="*/ 0 w 363"/>
                <a:gd name="T11" fmla="*/ 65 h 107"/>
                <a:gd name="T12" fmla="*/ 0 w 363"/>
                <a:gd name="T13" fmla="*/ 0 h 107"/>
                <a:gd name="T14" fmla="*/ 363 w 363"/>
                <a:gd name="T15" fmla="*/ 0 h 107"/>
                <a:gd name="T16" fmla="*/ 363 w 363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107">
                  <a:moveTo>
                    <a:pt x="363" y="107"/>
                  </a:moveTo>
                  <a:lnTo>
                    <a:pt x="355" y="107"/>
                  </a:lnTo>
                  <a:lnTo>
                    <a:pt x="355" y="7"/>
                  </a:lnTo>
                  <a:lnTo>
                    <a:pt x="8" y="7"/>
                  </a:lnTo>
                  <a:lnTo>
                    <a:pt x="8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63" y="0"/>
                  </a:lnTo>
                  <a:lnTo>
                    <a:pt x="363" y="10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2" name="Rectangle 439">
              <a:extLst>
                <a:ext uri="{FF2B5EF4-FFF2-40B4-BE49-F238E27FC236}">
                  <a16:creationId xmlns:a16="http://schemas.microsoft.com/office/drawing/2014/main" id="{E4495AEB-564A-2511-25CA-60E6246E8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3092" y="8766320"/>
              <a:ext cx="58924" cy="6898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1053" name="Rectangle: Top Corners Rounded 1052">
            <a:extLst>
              <a:ext uri="{FF2B5EF4-FFF2-40B4-BE49-F238E27FC236}">
                <a16:creationId xmlns:a16="http://schemas.microsoft.com/office/drawing/2014/main" id="{14B23295-1322-BFCC-1533-3DEFB33FE079}"/>
              </a:ext>
            </a:extLst>
          </p:cNvPr>
          <p:cNvSpPr/>
          <p:nvPr/>
        </p:nvSpPr>
        <p:spPr>
          <a:xfrm rot="16200000" flipV="1">
            <a:off x="3836666" y="4621153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4" name="Oval 1053">
            <a:extLst>
              <a:ext uri="{FF2B5EF4-FFF2-40B4-BE49-F238E27FC236}">
                <a16:creationId xmlns:a16="http://schemas.microsoft.com/office/drawing/2014/main" id="{FD6314AD-F701-A510-3F03-8264F21E9AE9}"/>
              </a:ext>
            </a:extLst>
          </p:cNvPr>
          <p:cNvSpPr/>
          <p:nvPr/>
        </p:nvSpPr>
        <p:spPr>
          <a:xfrm>
            <a:off x="3885693" y="4689492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55" name="Group 1054">
            <a:extLst>
              <a:ext uri="{FF2B5EF4-FFF2-40B4-BE49-F238E27FC236}">
                <a16:creationId xmlns:a16="http://schemas.microsoft.com/office/drawing/2014/main" id="{BC6684CA-8860-E5F5-02E3-0905AB48640F}"/>
              </a:ext>
            </a:extLst>
          </p:cNvPr>
          <p:cNvGrpSpPr/>
          <p:nvPr/>
        </p:nvGrpSpPr>
        <p:grpSpPr>
          <a:xfrm>
            <a:off x="3973828" y="4680348"/>
            <a:ext cx="282770" cy="360458"/>
            <a:chOff x="14504328" y="9516693"/>
            <a:chExt cx="416962" cy="501149"/>
          </a:xfrm>
          <a:solidFill>
            <a:srgbClr val="134258"/>
          </a:solidFill>
        </p:grpSpPr>
        <p:sp>
          <p:nvSpPr>
            <p:cNvPr id="1056" name="Forme libre : forme 22">
              <a:extLst>
                <a:ext uri="{FF2B5EF4-FFF2-40B4-BE49-F238E27FC236}">
                  <a16:creationId xmlns:a16="http://schemas.microsoft.com/office/drawing/2014/main" id="{CD7E7598-7AC6-459A-0633-86DC74BD2A40}"/>
                </a:ext>
              </a:extLst>
            </p:cNvPr>
            <p:cNvSpPr/>
            <p:nvPr/>
          </p:nvSpPr>
          <p:spPr>
            <a:xfrm rot="19282465">
              <a:off x="14908101" y="9516693"/>
              <a:ext cx="13189" cy="1338"/>
            </a:xfrm>
            <a:custGeom>
              <a:avLst/>
              <a:gdLst>
                <a:gd name="connsiteX0" fmla="*/ 19040 w 19040"/>
                <a:gd name="connsiteY0" fmla="*/ 0 h 1932"/>
                <a:gd name="connsiteX1" fmla="*/ 19040 w 19040"/>
                <a:gd name="connsiteY1" fmla="*/ 1932 h 1932"/>
                <a:gd name="connsiteX2" fmla="*/ 0 w 19040"/>
                <a:gd name="connsiteY2" fmla="*/ 1932 h 1932"/>
                <a:gd name="connsiteX3" fmla="*/ 19040 w 19040"/>
                <a:gd name="connsiteY3" fmla="*/ 0 h 1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40" h="1932">
                  <a:moveTo>
                    <a:pt x="19040" y="0"/>
                  </a:moveTo>
                  <a:lnTo>
                    <a:pt x="19040" y="1932"/>
                  </a:lnTo>
                  <a:lnTo>
                    <a:pt x="0" y="1932"/>
                  </a:lnTo>
                  <a:lnTo>
                    <a:pt x="19040" y="0"/>
                  </a:ln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r-SA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7" name="Building6">
              <a:extLst>
                <a:ext uri="{FF2B5EF4-FFF2-40B4-BE49-F238E27FC236}">
                  <a16:creationId xmlns:a16="http://schemas.microsoft.com/office/drawing/2014/main" id="{7241D7E5-D8BC-F3B8-7B91-2C2DB67F7A30}"/>
                </a:ext>
              </a:extLst>
            </p:cNvPr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4504328" y="9648208"/>
              <a:ext cx="379648" cy="369634"/>
            </a:xfrm>
            <a:custGeom>
              <a:avLst/>
              <a:gdLst>
                <a:gd name="T0" fmla="*/ 281 w 300"/>
                <a:gd name="T1" fmla="*/ 100 h 300"/>
                <a:gd name="T2" fmla="*/ 175 w 300"/>
                <a:gd name="T3" fmla="*/ 100 h 300"/>
                <a:gd name="T4" fmla="*/ 175 w 300"/>
                <a:gd name="T5" fmla="*/ 19 h 300"/>
                <a:gd name="T6" fmla="*/ 156 w 300"/>
                <a:gd name="T7" fmla="*/ 0 h 300"/>
                <a:gd name="T8" fmla="*/ 19 w 300"/>
                <a:gd name="T9" fmla="*/ 0 h 300"/>
                <a:gd name="T10" fmla="*/ 0 w 300"/>
                <a:gd name="T11" fmla="*/ 19 h 300"/>
                <a:gd name="T12" fmla="*/ 0 w 300"/>
                <a:gd name="T13" fmla="*/ 294 h 300"/>
                <a:gd name="T14" fmla="*/ 6 w 300"/>
                <a:gd name="T15" fmla="*/ 300 h 300"/>
                <a:gd name="T16" fmla="*/ 69 w 300"/>
                <a:gd name="T17" fmla="*/ 300 h 300"/>
                <a:gd name="T18" fmla="*/ 106 w 300"/>
                <a:gd name="T19" fmla="*/ 300 h 300"/>
                <a:gd name="T20" fmla="*/ 169 w 300"/>
                <a:gd name="T21" fmla="*/ 300 h 300"/>
                <a:gd name="T22" fmla="*/ 281 w 300"/>
                <a:gd name="T23" fmla="*/ 300 h 300"/>
                <a:gd name="T24" fmla="*/ 300 w 300"/>
                <a:gd name="T25" fmla="*/ 281 h 300"/>
                <a:gd name="T26" fmla="*/ 300 w 300"/>
                <a:gd name="T27" fmla="*/ 119 h 300"/>
                <a:gd name="T28" fmla="*/ 281 w 300"/>
                <a:gd name="T29" fmla="*/ 100 h 300"/>
                <a:gd name="T30" fmla="*/ 13 w 300"/>
                <a:gd name="T31" fmla="*/ 19 h 300"/>
                <a:gd name="T32" fmla="*/ 19 w 300"/>
                <a:gd name="T33" fmla="*/ 13 h 300"/>
                <a:gd name="T34" fmla="*/ 156 w 300"/>
                <a:gd name="T35" fmla="*/ 13 h 300"/>
                <a:gd name="T36" fmla="*/ 163 w 300"/>
                <a:gd name="T37" fmla="*/ 19 h 300"/>
                <a:gd name="T38" fmla="*/ 163 w 300"/>
                <a:gd name="T39" fmla="*/ 106 h 300"/>
                <a:gd name="T40" fmla="*/ 163 w 300"/>
                <a:gd name="T41" fmla="*/ 288 h 300"/>
                <a:gd name="T42" fmla="*/ 113 w 300"/>
                <a:gd name="T43" fmla="*/ 288 h 300"/>
                <a:gd name="T44" fmla="*/ 113 w 300"/>
                <a:gd name="T45" fmla="*/ 231 h 300"/>
                <a:gd name="T46" fmla="*/ 106 w 300"/>
                <a:gd name="T47" fmla="*/ 225 h 300"/>
                <a:gd name="T48" fmla="*/ 69 w 300"/>
                <a:gd name="T49" fmla="*/ 225 h 300"/>
                <a:gd name="T50" fmla="*/ 63 w 300"/>
                <a:gd name="T51" fmla="*/ 231 h 300"/>
                <a:gd name="T52" fmla="*/ 63 w 300"/>
                <a:gd name="T53" fmla="*/ 288 h 300"/>
                <a:gd name="T54" fmla="*/ 13 w 300"/>
                <a:gd name="T55" fmla="*/ 288 h 300"/>
                <a:gd name="T56" fmla="*/ 13 w 300"/>
                <a:gd name="T57" fmla="*/ 19 h 300"/>
                <a:gd name="T58" fmla="*/ 75 w 300"/>
                <a:gd name="T59" fmla="*/ 288 h 300"/>
                <a:gd name="T60" fmla="*/ 75 w 300"/>
                <a:gd name="T61" fmla="*/ 238 h 300"/>
                <a:gd name="T62" fmla="*/ 100 w 300"/>
                <a:gd name="T63" fmla="*/ 238 h 300"/>
                <a:gd name="T64" fmla="*/ 100 w 300"/>
                <a:gd name="T65" fmla="*/ 288 h 300"/>
                <a:gd name="T66" fmla="*/ 75 w 300"/>
                <a:gd name="T67" fmla="*/ 288 h 300"/>
                <a:gd name="T68" fmla="*/ 288 w 300"/>
                <a:gd name="T69" fmla="*/ 281 h 300"/>
                <a:gd name="T70" fmla="*/ 281 w 300"/>
                <a:gd name="T71" fmla="*/ 288 h 300"/>
                <a:gd name="T72" fmla="*/ 175 w 300"/>
                <a:gd name="T73" fmla="*/ 288 h 300"/>
                <a:gd name="T74" fmla="*/ 175 w 300"/>
                <a:gd name="T75" fmla="*/ 113 h 300"/>
                <a:gd name="T76" fmla="*/ 281 w 300"/>
                <a:gd name="T77" fmla="*/ 113 h 300"/>
                <a:gd name="T78" fmla="*/ 288 w 300"/>
                <a:gd name="T79" fmla="*/ 119 h 300"/>
                <a:gd name="T80" fmla="*/ 288 w 300"/>
                <a:gd name="T81" fmla="*/ 28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0" h="300">
                  <a:moveTo>
                    <a:pt x="281" y="100"/>
                  </a:moveTo>
                  <a:lnTo>
                    <a:pt x="175" y="100"/>
                  </a:lnTo>
                  <a:lnTo>
                    <a:pt x="175" y="19"/>
                  </a:lnTo>
                  <a:cubicBezTo>
                    <a:pt x="175" y="8"/>
                    <a:pt x="167" y="0"/>
                    <a:pt x="156" y="0"/>
                  </a:cubicBezTo>
                  <a:lnTo>
                    <a:pt x="19" y="0"/>
                  </a:lnTo>
                  <a:cubicBezTo>
                    <a:pt x="8" y="0"/>
                    <a:pt x="0" y="8"/>
                    <a:pt x="0" y="19"/>
                  </a:cubicBezTo>
                  <a:lnTo>
                    <a:pt x="0" y="294"/>
                  </a:lnTo>
                  <a:cubicBezTo>
                    <a:pt x="0" y="297"/>
                    <a:pt x="3" y="300"/>
                    <a:pt x="6" y="300"/>
                  </a:cubicBezTo>
                  <a:lnTo>
                    <a:pt x="69" y="300"/>
                  </a:lnTo>
                  <a:lnTo>
                    <a:pt x="106" y="300"/>
                  </a:lnTo>
                  <a:lnTo>
                    <a:pt x="169" y="300"/>
                  </a:lnTo>
                  <a:lnTo>
                    <a:pt x="281" y="300"/>
                  </a:lnTo>
                  <a:cubicBezTo>
                    <a:pt x="292" y="300"/>
                    <a:pt x="300" y="292"/>
                    <a:pt x="300" y="281"/>
                  </a:cubicBezTo>
                  <a:lnTo>
                    <a:pt x="300" y="119"/>
                  </a:lnTo>
                  <a:cubicBezTo>
                    <a:pt x="300" y="108"/>
                    <a:pt x="292" y="100"/>
                    <a:pt x="281" y="100"/>
                  </a:cubicBezTo>
                  <a:close/>
                  <a:moveTo>
                    <a:pt x="13" y="19"/>
                  </a:moveTo>
                  <a:cubicBezTo>
                    <a:pt x="13" y="15"/>
                    <a:pt x="15" y="13"/>
                    <a:pt x="19" y="13"/>
                  </a:cubicBezTo>
                  <a:lnTo>
                    <a:pt x="156" y="13"/>
                  </a:lnTo>
                  <a:cubicBezTo>
                    <a:pt x="160" y="13"/>
                    <a:pt x="163" y="15"/>
                    <a:pt x="163" y="19"/>
                  </a:cubicBezTo>
                  <a:lnTo>
                    <a:pt x="163" y="106"/>
                  </a:lnTo>
                  <a:lnTo>
                    <a:pt x="163" y="288"/>
                  </a:lnTo>
                  <a:lnTo>
                    <a:pt x="113" y="288"/>
                  </a:lnTo>
                  <a:lnTo>
                    <a:pt x="113" y="231"/>
                  </a:lnTo>
                  <a:cubicBezTo>
                    <a:pt x="113" y="228"/>
                    <a:pt x="110" y="225"/>
                    <a:pt x="106" y="225"/>
                  </a:cubicBezTo>
                  <a:lnTo>
                    <a:pt x="69" y="225"/>
                  </a:lnTo>
                  <a:cubicBezTo>
                    <a:pt x="65" y="225"/>
                    <a:pt x="63" y="228"/>
                    <a:pt x="63" y="231"/>
                  </a:cubicBezTo>
                  <a:lnTo>
                    <a:pt x="63" y="288"/>
                  </a:lnTo>
                  <a:lnTo>
                    <a:pt x="13" y="288"/>
                  </a:lnTo>
                  <a:lnTo>
                    <a:pt x="13" y="19"/>
                  </a:lnTo>
                  <a:close/>
                  <a:moveTo>
                    <a:pt x="75" y="288"/>
                  </a:moveTo>
                  <a:lnTo>
                    <a:pt x="75" y="238"/>
                  </a:lnTo>
                  <a:lnTo>
                    <a:pt x="100" y="238"/>
                  </a:lnTo>
                  <a:lnTo>
                    <a:pt x="100" y="288"/>
                  </a:lnTo>
                  <a:lnTo>
                    <a:pt x="75" y="288"/>
                  </a:lnTo>
                  <a:close/>
                  <a:moveTo>
                    <a:pt x="288" y="281"/>
                  </a:moveTo>
                  <a:cubicBezTo>
                    <a:pt x="288" y="285"/>
                    <a:pt x="285" y="288"/>
                    <a:pt x="281" y="288"/>
                  </a:cubicBezTo>
                  <a:lnTo>
                    <a:pt x="175" y="288"/>
                  </a:lnTo>
                  <a:lnTo>
                    <a:pt x="175" y="113"/>
                  </a:lnTo>
                  <a:lnTo>
                    <a:pt x="281" y="113"/>
                  </a:lnTo>
                  <a:cubicBezTo>
                    <a:pt x="285" y="113"/>
                    <a:pt x="288" y="115"/>
                    <a:pt x="288" y="119"/>
                  </a:cubicBezTo>
                  <a:lnTo>
                    <a:pt x="288" y="281"/>
                  </a:ln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8" name="Building6">
              <a:extLst>
                <a:ext uri="{FF2B5EF4-FFF2-40B4-BE49-F238E27FC236}">
                  <a16:creationId xmlns:a16="http://schemas.microsoft.com/office/drawing/2014/main" id="{F7FE4E50-9226-6F42-3BA3-C75654D410A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4538365" y="9720262"/>
              <a:ext cx="56729" cy="14412"/>
            </a:xfrm>
            <a:custGeom>
              <a:avLst/>
              <a:gdLst>
                <a:gd name="T0" fmla="*/ 39 w 45"/>
                <a:gd name="T1" fmla="*/ 12 h 12"/>
                <a:gd name="T2" fmla="*/ 6 w 45"/>
                <a:gd name="T3" fmla="*/ 12 h 12"/>
                <a:gd name="T4" fmla="*/ 0 w 45"/>
                <a:gd name="T5" fmla="*/ 6 h 12"/>
                <a:gd name="T6" fmla="*/ 6 w 45"/>
                <a:gd name="T7" fmla="*/ 0 h 12"/>
                <a:gd name="T8" fmla="*/ 39 w 45"/>
                <a:gd name="T9" fmla="*/ 0 h 12"/>
                <a:gd name="T10" fmla="*/ 45 w 45"/>
                <a:gd name="T11" fmla="*/ 6 h 12"/>
                <a:gd name="T12" fmla="*/ 39 w 4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2">
                  <a:moveTo>
                    <a:pt x="39" y="12"/>
                  </a:moveTo>
                  <a:lnTo>
                    <a:pt x="6" y="12"/>
                  </a:ln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lnTo>
                    <a:pt x="39" y="0"/>
                  </a:lnTo>
                  <a:cubicBezTo>
                    <a:pt x="43" y="0"/>
                    <a:pt x="45" y="3"/>
                    <a:pt x="45" y="6"/>
                  </a:cubicBezTo>
                  <a:cubicBezTo>
                    <a:pt x="45" y="10"/>
                    <a:pt x="43" y="12"/>
                    <a:pt x="39" y="12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9" name="Building6">
              <a:extLst>
                <a:ext uri="{FF2B5EF4-FFF2-40B4-BE49-F238E27FC236}">
                  <a16:creationId xmlns:a16="http://schemas.microsoft.com/office/drawing/2014/main" id="{E0C31C60-3737-4067-4E36-F0D7F583EC47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627386" y="9720262"/>
              <a:ext cx="56729" cy="14412"/>
            </a:xfrm>
            <a:custGeom>
              <a:avLst/>
              <a:gdLst>
                <a:gd name="T0" fmla="*/ 39 w 45"/>
                <a:gd name="T1" fmla="*/ 12 h 12"/>
                <a:gd name="T2" fmla="*/ 6 w 45"/>
                <a:gd name="T3" fmla="*/ 12 h 12"/>
                <a:gd name="T4" fmla="*/ 0 w 45"/>
                <a:gd name="T5" fmla="*/ 6 h 12"/>
                <a:gd name="T6" fmla="*/ 6 w 45"/>
                <a:gd name="T7" fmla="*/ 0 h 12"/>
                <a:gd name="T8" fmla="*/ 39 w 45"/>
                <a:gd name="T9" fmla="*/ 0 h 12"/>
                <a:gd name="T10" fmla="*/ 45 w 45"/>
                <a:gd name="T11" fmla="*/ 6 h 12"/>
                <a:gd name="T12" fmla="*/ 39 w 4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2">
                  <a:moveTo>
                    <a:pt x="39" y="12"/>
                  </a:moveTo>
                  <a:lnTo>
                    <a:pt x="6" y="12"/>
                  </a:ln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6"/>
                  </a:cubicBezTo>
                  <a:cubicBezTo>
                    <a:pt x="45" y="10"/>
                    <a:pt x="42" y="12"/>
                    <a:pt x="39" y="12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0" name="Building6">
              <a:extLst>
                <a:ext uri="{FF2B5EF4-FFF2-40B4-BE49-F238E27FC236}">
                  <a16:creationId xmlns:a16="http://schemas.microsoft.com/office/drawing/2014/main" id="{541DD729-1AED-68E2-7D9F-FA49C6341B3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4538365" y="9766890"/>
              <a:ext cx="56729" cy="15260"/>
            </a:xfrm>
            <a:custGeom>
              <a:avLst/>
              <a:gdLst>
                <a:gd name="T0" fmla="*/ 39 w 45"/>
                <a:gd name="T1" fmla="*/ 12 h 12"/>
                <a:gd name="T2" fmla="*/ 6 w 45"/>
                <a:gd name="T3" fmla="*/ 12 h 12"/>
                <a:gd name="T4" fmla="*/ 0 w 45"/>
                <a:gd name="T5" fmla="*/ 6 h 12"/>
                <a:gd name="T6" fmla="*/ 6 w 45"/>
                <a:gd name="T7" fmla="*/ 0 h 12"/>
                <a:gd name="T8" fmla="*/ 39 w 45"/>
                <a:gd name="T9" fmla="*/ 0 h 12"/>
                <a:gd name="T10" fmla="*/ 45 w 45"/>
                <a:gd name="T11" fmla="*/ 6 h 12"/>
                <a:gd name="T12" fmla="*/ 39 w 4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2">
                  <a:moveTo>
                    <a:pt x="39" y="12"/>
                  </a:moveTo>
                  <a:lnTo>
                    <a:pt x="6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lnTo>
                    <a:pt x="39" y="0"/>
                  </a:lnTo>
                  <a:cubicBezTo>
                    <a:pt x="43" y="0"/>
                    <a:pt x="45" y="3"/>
                    <a:pt x="45" y="6"/>
                  </a:cubicBezTo>
                  <a:cubicBezTo>
                    <a:pt x="45" y="9"/>
                    <a:pt x="43" y="12"/>
                    <a:pt x="39" y="12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1" name="Building6">
              <a:extLst>
                <a:ext uri="{FF2B5EF4-FFF2-40B4-BE49-F238E27FC236}">
                  <a16:creationId xmlns:a16="http://schemas.microsoft.com/office/drawing/2014/main" id="{64A6FBCA-6E42-65B9-AC9A-492F45670A57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627386" y="9766890"/>
              <a:ext cx="56729" cy="15260"/>
            </a:xfrm>
            <a:custGeom>
              <a:avLst/>
              <a:gdLst>
                <a:gd name="T0" fmla="*/ 39 w 45"/>
                <a:gd name="T1" fmla="*/ 12 h 12"/>
                <a:gd name="T2" fmla="*/ 6 w 45"/>
                <a:gd name="T3" fmla="*/ 12 h 12"/>
                <a:gd name="T4" fmla="*/ 0 w 45"/>
                <a:gd name="T5" fmla="*/ 6 h 12"/>
                <a:gd name="T6" fmla="*/ 6 w 45"/>
                <a:gd name="T7" fmla="*/ 0 h 12"/>
                <a:gd name="T8" fmla="*/ 39 w 45"/>
                <a:gd name="T9" fmla="*/ 0 h 12"/>
                <a:gd name="T10" fmla="*/ 45 w 45"/>
                <a:gd name="T11" fmla="*/ 6 h 12"/>
                <a:gd name="T12" fmla="*/ 39 w 4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2">
                  <a:moveTo>
                    <a:pt x="39" y="12"/>
                  </a:moveTo>
                  <a:lnTo>
                    <a:pt x="6" y="12"/>
                  </a:ln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6"/>
                  </a:cubicBezTo>
                  <a:cubicBezTo>
                    <a:pt x="45" y="9"/>
                    <a:pt x="42" y="12"/>
                    <a:pt x="39" y="12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2" name="Building6">
              <a:extLst>
                <a:ext uri="{FF2B5EF4-FFF2-40B4-BE49-F238E27FC236}">
                  <a16:creationId xmlns:a16="http://schemas.microsoft.com/office/drawing/2014/main" id="{13C40CAE-DC0A-4C76-7D7B-461E66BD0C0D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4538365" y="9813518"/>
              <a:ext cx="56729" cy="15260"/>
            </a:xfrm>
            <a:custGeom>
              <a:avLst/>
              <a:gdLst>
                <a:gd name="T0" fmla="*/ 39 w 45"/>
                <a:gd name="T1" fmla="*/ 12 h 12"/>
                <a:gd name="T2" fmla="*/ 6 w 45"/>
                <a:gd name="T3" fmla="*/ 12 h 12"/>
                <a:gd name="T4" fmla="*/ 0 w 45"/>
                <a:gd name="T5" fmla="*/ 6 h 12"/>
                <a:gd name="T6" fmla="*/ 6 w 45"/>
                <a:gd name="T7" fmla="*/ 0 h 12"/>
                <a:gd name="T8" fmla="*/ 39 w 45"/>
                <a:gd name="T9" fmla="*/ 0 h 12"/>
                <a:gd name="T10" fmla="*/ 45 w 45"/>
                <a:gd name="T11" fmla="*/ 6 h 12"/>
                <a:gd name="T12" fmla="*/ 39 w 4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2">
                  <a:moveTo>
                    <a:pt x="39" y="12"/>
                  </a:moveTo>
                  <a:lnTo>
                    <a:pt x="6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lnTo>
                    <a:pt x="39" y="0"/>
                  </a:lnTo>
                  <a:cubicBezTo>
                    <a:pt x="43" y="0"/>
                    <a:pt x="45" y="2"/>
                    <a:pt x="45" y="6"/>
                  </a:cubicBezTo>
                  <a:cubicBezTo>
                    <a:pt x="45" y="9"/>
                    <a:pt x="43" y="12"/>
                    <a:pt x="39" y="12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3" name="Building6">
              <a:extLst>
                <a:ext uri="{FF2B5EF4-FFF2-40B4-BE49-F238E27FC236}">
                  <a16:creationId xmlns:a16="http://schemas.microsoft.com/office/drawing/2014/main" id="{B47606BA-13B6-E7BB-8F2F-AB353033DCF9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4627386" y="9813518"/>
              <a:ext cx="56729" cy="15260"/>
            </a:xfrm>
            <a:custGeom>
              <a:avLst/>
              <a:gdLst>
                <a:gd name="T0" fmla="*/ 39 w 45"/>
                <a:gd name="T1" fmla="*/ 12 h 12"/>
                <a:gd name="T2" fmla="*/ 6 w 45"/>
                <a:gd name="T3" fmla="*/ 12 h 12"/>
                <a:gd name="T4" fmla="*/ 0 w 45"/>
                <a:gd name="T5" fmla="*/ 6 h 12"/>
                <a:gd name="T6" fmla="*/ 6 w 45"/>
                <a:gd name="T7" fmla="*/ 0 h 12"/>
                <a:gd name="T8" fmla="*/ 39 w 45"/>
                <a:gd name="T9" fmla="*/ 0 h 12"/>
                <a:gd name="T10" fmla="*/ 45 w 45"/>
                <a:gd name="T11" fmla="*/ 6 h 12"/>
                <a:gd name="T12" fmla="*/ 39 w 4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2">
                  <a:moveTo>
                    <a:pt x="39" y="12"/>
                  </a:moveTo>
                  <a:lnTo>
                    <a:pt x="6" y="12"/>
                  </a:ln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2"/>
                    <a:pt x="45" y="6"/>
                  </a:cubicBezTo>
                  <a:cubicBezTo>
                    <a:pt x="45" y="9"/>
                    <a:pt x="42" y="12"/>
                    <a:pt x="39" y="12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4" name="Building6">
              <a:extLst>
                <a:ext uri="{FF2B5EF4-FFF2-40B4-BE49-F238E27FC236}">
                  <a16:creationId xmlns:a16="http://schemas.microsoft.com/office/drawing/2014/main" id="{657DAEFF-0980-22B5-D8C5-8F807BDF0F9E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4538365" y="9859298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lnTo>
                    <a:pt x="39" y="0"/>
                  </a:lnTo>
                  <a:cubicBezTo>
                    <a:pt x="43" y="0"/>
                    <a:pt x="45" y="3"/>
                    <a:pt x="45" y="7"/>
                  </a:cubicBezTo>
                  <a:cubicBezTo>
                    <a:pt x="45" y="10"/>
                    <a:pt x="43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5" name="Building6">
              <a:extLst>
                <a:ext uri="{FF2B5EF4-FFF2-40B4-BE49-F238E27FC236}">
                  <a16:creationId xmlns:a16="http://schemas.microsoft.com/office/drawing/2014/main" id="{4D4FA0B2-C8E1-D5B4-9A43-F12382AE3EE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4627386" y="9859298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2" y="13"/>
                    <a:pt x="0" y="10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7"/>
                  </a:cubicBezTo>
                  <a:cubicBezTo>
                    <a:pt x="45" y="10"/>
                    <a:pt x="42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6" name="Building6">
              <a:extLst>
                <a:ext uri="{FF2B5EF4-FFF2-40B4-BE49-F238E27FC236}">
                  <a16:creationId xmlns:a16="http://schemas.microsoft.com/office/drawing/2014/main" id="{C897637C-1305-079B-1A98-597970162A97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4538365" y="9905926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lnTo>
                    <a:pt x="39" y="0"/>
                  </a:lnTo>
                  <a:cubicBezTo>
                    <a:pt x="43" y="0"/>
                    <a:pt x="45" y="3"/>
                    <a:pt x="45" y="7"/>
                  </a:cubicBezTo>
                  <a:cubicBezTo>
                    <a:pt x="45" y="10"/>
                    <a:pt x="43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7" name="Building6">
              <a:extLst>
                <a:ext uri="{FF2B5EF4-FFF2-40B4-BE49-F238E27FC236}">
                  <a16:creationId xmlns:a16="http://schemas.microsoft.com/office/drawing/2014/main" id="{8EB5303E-D517-1CEC-C60C-1DFAF67A5B7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4627386" y="9905926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2" y="13"/>
                    <a:pt x="0" y="10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7"/>
                  </a:cubicBezTo>
                  <a:cubicBezTo>
                    <a:pt x="45" y="10"/>
                    <a:pt x="42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8" name="Building6">
              <a:extLst>
                <a:ext uri="{FF2B5EF4-FFF2-40B4-BE49-F238E27FC236}">
                  <a16:creationId xmlns:a16="http://schemas.microsoft.com/office/drawing/2014/main" id="{DD529E71-77F7-D0E1-5160-4C8BB600E4A1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4768772" y="9859298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2" y="13"/>
                    <a:pt x="0" y="10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7"/>
                  </a:cubicBezTo>
                  <a:cubicBezTo>
                    <a:pt x="45" y="10"/>
                    <a:pt x="42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69" name="Building6">
              <a:extLst>
                <a:ext uri="{FF2B5EF4-FFF2-40B4-BE49-F238E27FC236}">
                  <a16:creationId xmlns:a16="http://schemas.microsoft.com/office/drawing/2014/main" id="{EDAA7EF8-9D28-AB63-93D8-16F0E17BAD88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4768772" y="9905926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2" y="13"/>
                    <a:pt x="0" y="10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7"/>
                  </a:cubicBezTo>
                  <a:cubicBezTo>
                    <a:pt x="45" y="10"/>
                    <a:pt x="42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70" name="Building6">
              <a:extLst>
                <a:ext uri="{FF2B5EF4-FFF2-40B4-BE49-F238E27FC236}">
                  <a16:creationId xmlns:a16="http://schemas.microsoft.com/office/drawing/2014/main" id="{A6A6D89C-019F-2488-AC72-0A33C1D946FA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4768772" y="9953402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7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7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2" y="13"/>
                    <a:pt x="0" y="10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7"/>
                  </a:cubicBezTo>
                  <a:cubicBezTo>
                    <a:pt x="45" y="10"/>
                    <a:pt x="42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71" name="Building6">
              <a:extLst>
                <a:ext uri="{FF2B5EF4-FFF2-40B4-BE49-F238E27FC236}">
                  <a16:creationId xmlns:a16="http://schemas.microsoft.com/office/drawing/2014/main" id="{9F55831F-DEAF-D242-35FB-90A7DBB3960D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768772" y="10000030"/>
              <a:ext cx="56729" cy="16108"/>
            </a:xfrm>
            <a:custGeom>
              <a:avLst/>
              <a:gdLst>
                <a:gd name="T0" fmla="*/ 39 w 45"/>
                <a:gd name="T1" fmla="*/ 13 h 13"/>
                <a:gd name="T2" fmla="*/ 6 w 45"/>
                <a:gd name="T3" fmla="*/ 13 h 13"/>
                <a:gd name="T4" fmla="*/ 0 w 45"/>
                <a:gd name="T5" fmla="*/ 6 h 13"/>
                <a:gd name="T6" fmla="*/ 6 w 45"/>
                <a:gd name="T7" fmla="*/ 0 h 13"/>
                <a:gd name="T8" fmla="*/ 39 w 45"/>
                <a:gd name="T9" fmla="*/ 0 h 13"/>
                <a:gd name="T10" fmla="*/ 45 w 45"/>
                <a:gd name="T11" fmla="*/ 6 h 13"/>
                <a:gd name="T12" fmla="*/ 39 w 4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3">
                  <a:moveTo>
                    <a:pt x="39" y="13"/>
                  </a:moveTo>
                  <a:lnTo>
                    <a:pt x="6" y="13"/>
                  </a:lnTo>
                  <a:cubicBezTo>
                    <a:pt x="2" y="13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lnTo>
                    <a:pt x="39" y="0"/>
                  </a:lnTo>
                  <a:cubicBezTo>
                    <a:pt x="42" y="0"/>
                    <a:pt x="45" y="3"/>
                    <a:pt x="45" y="6"/>
                  </a:cubicBezTo>
                  <a:cubicBezTo>
                    <a:pt x="45" y="10"/>
                    <a:pt x="42" y="13"/>
                    <a:pt x="39" y="13"/>
                  </a:cubicBezTo>
                  <a:close/>
                </a:path>
              </a:pathLst>
            </a:custGeom>
            <a:grpFill/>
            <a:ln w="6856" cap="flat">
              <a:noFill/>
              <a:prstDash val="solid"/>
              <a:miter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1072" name="TextBox 1071">
            <a:extLst>
              <a:ext uri="{FF2B5EF4-FFF2-40B4-BE49-F238E27FC236}">
                <a16:creationId xmlns:a16="http://schemas.microsoft.com/office/drawing/2014/main" id="{AC712753-FFD5-F446-C443-A40C0689C7FB}"/>
              </a:ext>
            </a:extLst>
          </p:cNvPr>
          <p:cNvSpPr txBox="1"/>
          <p:nvPr/>
        </p:nvSpPr>
        <p:spPr>
          <a:xfrm>
            <a:off x="4411787" y="2488755"/>
            <a:ext cx="1620849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9%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73" name="TextBox 1072">
            <a:extLst>
              <a:ext uri="{FF2B5EF4-FFF2-40B4-BE49-F238E27FC236}">
                <a16:creationId xmlns:a16="http://schemas.microsoft.com/office/drawing/2014/main" id="{0637A63D-5B96-74AA-11A0-F8367B6DC409}"/>
              </a:ext>
            </a:extLst>
          </p:cNvPr>
          <p:cNvSpPr txBox="1"/>
          <p:nvPr/>
        </p:nvSpPr>
        <p:spPr>
          <a:xfrm>
            <a:off x="4392604" y="3534593"/>
            <a:ext cx="2050311" cy="8463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4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Medium skill) that covers 32% of the worker's flow</a:t>
            </a:r>
            <a:endParaRPr kumimoji="0" lang="ar-SA" sz="8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74" name="Picture 1073">
            <a:extLst>
              <a:ext uri="{FF2B5EF4-FFF2-40B4-BE49-F238E27FC236}">
                <a16:creationId xmlns:a16="http://schemas.microsoft.com/office/drawing/2014/main" id="{7219EC32-EAD0-91BA-995D-C6DE18ACF4C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612831" y="2119728"/>
            <a:ext cx="4947522" cy="3178000"/>
          </a:xfrm>
          <a:prstGeom prst="rect">
            <a:avLst/>
          </a:prstGeom>
        </p:spPr>
      </p:pic>
      <p:sp>
        <p:nvSpPr>
          <p:cNvPr id="1075" name="TextBox 1074">
            <a:extLst>
              <a:ext uri="{FF2B5EF4-FFF2-40B4-BE49-F238E27FC236}">
                <a16:creationId xmlns:a16="http://schemas.microsoft.com/office/drawing/2014/main" id="{F98B3877-79F3-8A70-E32F-FCA0405768B9}"/>
              </a:ext>
            </a:extLst>
          </p:cNvPr>
          <p:cNvSpPr txBox="1"/>
          <p:nvPr/>
        </p:nvSpPr>
        <p:spPr>
          <a:xfrm>
            <a:off x="5351590" y="2760123"/>
            <a:ext cx="100229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 demand covered</a:t>
            </a:r>
            <a:endParaRPr kumimoji="0" lang="ar-SA" sz="14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76" name="Picture 1075" descr="Text&#10;&#10;Description automatically generated with medium confidence">
            <a:extLst>
              <a:ext uri="{FF2B5EF4-FFF2-40B4-BE49-F238E27FC236}">
                <a16:creationId xmlns:a16="http://schemas.microsoft.com/office/drawing/2014/main" id="{CCD08615-C505-6FEF-BF4E-10011F97DE0F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608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66000" y="1024533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The future of Professional Accreditation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F7C331DC-EA8D-AB64-ED40-261356FD3695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7775953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ct val="0"/>
              </a:spcBef>
              <a:defRPr/>
            </a:pP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. N</a:t>
            </a:r>
            <a:r>
              <a:rPr lang="en-US" sz="2400" dirty="0" err="1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ext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steps</a:t>
            </a:r>
            <a:endParaRPr lang="ar-SA" sz="2400" dirty="0">
              <a:solidFill>
                <a:srgbClr val="1582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C965E16F-FE95-D96B-BAE6-FD051F9431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4" name="Round Same Side Corner Rectangle 11">
            <a:extLst>
              <a:ext uri="{FF2B5EF4-FFF2-40B4-BE49-F238E27FC236}">
                <a16:creationId xmlns:a16="http://schemas.microsoft.com/office/drawing/2014/main" id="{594E8F0D-194A-4773-395F-49E29E32541C}"/>
              </a:ext>
            </a:extLst>
          </p:cNvPr>
          <p:cNvSpPr/>
          <p:nvPr/>
        </p:nvSpPr>
        <p:spPr>
          <a:xfrm>
            <a:off x="6618393" y="2278940"/>
            <a:ext cx="4027474" cy="2891842"/>
          </a:xfrm>
          <a:prstGeom prst="roundRect">
            <a:avLst>
              <a:gd name="adj" fmla="val 2879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20CC41-0726-71CD-96DF-736B8F7222C8}"/>
              </a:ext>
            </a:extLst>
          </p:cNvPr>
          <p:cNvSpPr/>
          <p:nvPr/>
        </p:nvSpPr>
        <p:spPr>
          <a:xfrm>
            <a:off x="6618393" y="1854700"/>
            <a:ext cx="4027474" cy="4754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 algn="ctr" defTabSz="914400" eaLnBrk="1" latinLnBrk="0" hangingPunct="1"/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4D3A8B3-1DD5-3558-63E3-88FDEC759773}"/>
              </a:ext>
            </a:extLst>
          </p:cNvPr>
          <p:cNvSpPr/>
          <p:nvPr/>
        </p:nvSpPr>
        <p:spPr>
          <a:xfrm>
            <a:off x="6396676" y="1845694"/>
            <a:ext cx="443438" cy="47535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miter lim="800000"/>
          </a:ln>
          <a:effectLst>
            <a:outerShdw blurRad="50800" dist="50800" dir="5400000" sx="1000" sy="1000" algn="ctr" rotWithShape="0">
              <a:prstClr val="white">
                <a:alpha val="43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ound Same Side Corner Rectangle 11">
            <a:extLst>
              <a:ext uri="{FF2B5EF4-FFF2-40B4-BE49-F238E27FC236}">
                <a16:creationId xmlns:a16="http://schemas.microsoft.com/office/drawing/2014/main" id="{C51393DF-2FC7-C935-9041-668B138F35BD}"/>
              </a:ext>
            </a:extLst>
          </p:cNvPr>
          <p:cNvSpPr/>
          <p:nvPr/>
        </p:nvSpPr>
        <p:spPr>
          <a:xfrm>
            <a:off x="1499764" y="2278940"/>
            <a:ext cx="4025844" cy="2891842"/>
          </a:xfrm>
          <a:prstGeom prst="roundRect">
            <a:avLst>
              <a:gd name="adj" fmla="val 2879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B58302-B7F2-4CDD-D9F2-34D505D77A31}"/>
              </a:ext>
            </a:extLst>
          </p:cNvPr>
          <p:cNvSpPr/>
          <p:nvPr/>
        </p:nvSpPr>
        <p:spPr>
          <a:xfrm>
            <a:off x="1499763" y="1854700"/>
            <a:ext cx="4025844" cy="4754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 algn="ctr" defTabSz="914400" eaLnBrk="1" latinLnBrk="0" hangingPunct="1"/>
            <a:r>
              <a:rPr lang="fr-F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fications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ion Program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B084EEB-F760-CF21-6665-DE1E220967D5}"/>
              </a:ext>
            </a:extLst>
          </p:cNvPr>
          <p:cNvSpPr/>
          <p:nvPr/>
        </p:nvSpPr>
        <p:spPr>
          <a:xfrm>
            <a:off x="1278046" y="1845694"/>
            <a:ext cx="443438" cy="47535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50800" dist="50800" dir="5400000" sx="1000" sy="1000" algn="ctr" rotWithShape="0">
              <a:prstClr val="white">
                <a:alpha val="43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30D44D1-13C0-2E92-A81E-3ED304D5A0B0}"/>
              </a:ext>
            </a:extLst>
          </p:cNvPr>
          <p:cNvSpPr/>
          <p:nvPr/>
        </p:nvSpPr>
        <p:spPr>
          <a:xfrm flipH="1">
            <a:off x="1210068" y="1808060"/>
            <a:ext cx="550730" cy="510920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4D211C-64EA-6BA0-5FCA-C5E14644A505}"/>
              </a:ext>
            </a:extLst>
          </p:cNvPr>
          <p:cNvSpPr txBox="1"/>
          <p:nvPr/>
        </p:nvSpPr>
        <p:spPr>
          <a:xfrm>
            <a:off x="1309291" y="2199383"/>
            <a:ext cx="325042" cy="1231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VP</a:t>
            </a:r>
            <a:endParaRPr kumimoji="0" lang="en-US" sz="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30E199D-1678-33A6-F7DD-E8B413FF52BF}"/>
              </a:ext>
            </a:extLst>
          </p:cNvPr>
          <p:cNvGrpSpPr/>
          <p:nvPr/>
        </p:nvGrpSpPr>
        <p:grpSpPr>
          <a:xfrm>
            <a:off x="1319506" y="1868750"/>
            <a:ext cx="314972" cy="317774"/>
            <a:chOff x="4081463" y="728663"/>
            <a:chExt cx="357188" cy="360363"/>
          </a:xfrm>
          <a:solidFill>
            <a:srgbClr val="FFFFFF"/>
          </a:solidFill>
        </p:grpSpPr>
        <p:sp>
          <p:nvSpPr>
            <p:cNvPr id="14" name="Freeform 91">
              <a:extLst>
                <a:ext uri="{FF2B5EF4-FFF2-40B4-BE49-F238E27FC236}">
                  <a16:creationId xmlns:a16="http://schemas.microsoft.com/office/drawing/2014/main" id="{72A5EF16-011A-3A06-993A-5FA4B1A82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3" y="936625"/>
              <a:ext cx="141288" cy="152400"/>
            </a:xfrm>
            <a:custGeom>
              <a:avLst/>
              <a:gdLst>
                <a:gd name="T0" fmla="*/ 322 w 534"/>
                <a:gd name="T1" fmla="*/ 576 h 576"/>
                <a:gd name="T2" fmla="*/ 322 w 534"/>
                <a:gd name="T3" fmla="*/ 576 h 576"/>
                <a:gd name="T4" fmla="*/ 320 w 534"/>
                <a:gd name="T5" fmla="*/ 576 h 576"/>
                <a:gd name="T6" fmla="*/ 320 w 534"/>
                <a:gd name="T7" fmla="*/ 576 h 576"/>
                <a:gd name="T8" fmla="*/ 312 w 534"/>
                <a:gd name="T9" fmla="*/ 574 h 576"/>
                <a:gd name="T10" fmla="*/ 305 w 534"/>
                <a:gd name="T11" fmla="*/ 570 h 576"/>
                <a:gd name="T12" fmla="*/ 300 w 534"/>
                <a:gd name="T13" fmla="*/ 565 h 576"/>
                <a:gd name="T14" fmla="*/ 296 w 534"/>
                <a:gd name="T15" fmla="*/ 558 h 576"/>
                <a:gd name="T16" fmla="*/ 228 w 534"/>
                <a:gd name="T17" fmla="*/ 372 h 576"/>
                <a:gd name="T18" fmla="*/ 34 w 534"/>
                <a:gd name="T19" fmla="*/ 405 h 576"/>
                <a:gd name="T20" fmla="*/ 34 w 534"/>
                <a:gd name="T21" fmla="*/ 405 h 576"/>
                <a:gd name="T22" fmla="*/ 25 w 534"/>
                <a:gd name="T23" fmla="*/ 406 h 576"/>
                <a:gd name="T24" fmla="*/ 17 w 534"/>
                <a:gd name="T25" fmla="*/ 404 h 576"/>
                <a:gd name="T26" fmla="*/ 11 w 534"/>
                <a:gd name="T27" fmla="*/ 400 h 576"/>
                <a:gd name="T28" fmla="*/ 5 w 534"/>
                <a:gd name="T29" fmla="*/ 394 h 576"/>
                <a:gd name="T30" fmla="*/ 5 w 534"/>
                <a:gd name="T31" fmla="*/ 394 h 576"/>
                <a:gd name="T32" fmla="*/ 2 w 534"/>
                <a:gd name="T33" fmla="*/ 387 h 576"/>
                <a:gd name="T34" fmla="*/ 0 w 534"/>
                <a:gd name="T35" fmla="*/ 378 h 576"/>
                <a:gd name="T36" fmla="*/ 1 w 534"/>
                <a:gd name="T37" fmla="*/ 370 h 576"/>
                <a:gd name="T38" fmla="*/ 4 w 534"/>
                <a:gd name="T39" fmla="*/ 363 h 576"/>
                <a:gd name="T40" fmla="*/ 214 w 534"/>
                <a:gd name="T41" fmla="*/ 0 h 576"/>
                <a:gd name="T42" fmla="*/ 264 w 534"/>
                <a:gd name="T43" fmla="*/ 28 h 576"/>
                <a:gd name="T44" fmla="*/ 84 w 534"/>
                <a:gd name="T45" fmla="*/ 339 h 576"/>
                <a:gd name="T46" fmla="*/ 243 w 534"/>
                <a:gd name="T47" fmla="*/ 313 h 576"/>
                <a:gd name="T48" fmla="*/ 243 w 534"/>
                <a:gd name="T49" fmla="*/ 313 h 576"/>
                <a:gd name="T50" fmla="*/ 248 w 534"/>
                <a:gd name="T51" fmla="*/ 312 h 576"/>
                <a:gd name="T52" fmla="*/ 252 w 534"/>
                <a:gd name="T53" fmla="*/ 313 h 576"/>
                <a:gd name="T54" fmla="*/ 257 w 534"/>
                <a:gd name="T55" fmla="*/ 314 h 576"/>
                <a:gd name="T56" fmla="*/ 261 w 534"/>
                <a:gd name="T57" fmla="*/ 316 h 576"/>
                <a:gd name="T58" fmla="*/ 265 w 534"/>
                <a:gd name="T59" fmla="*/ 319 h 576"/>
                <a:gd name="T60" fmla="*/ 269 w 534"/>
                <a:gd name="T61" fmla="*/ 322 h 576"/>
                <a:gd name="T62" fmla="*/ 272 w 534"/>
                <a:gd name="T63" fmla="*/ 326 h 576"/>
                <a:gd name="T64" fmla="*/ 274 w 534"/>
                <a:gd name="T65" fmla="*/ 331 h 576"/>
                <a:gd name="T66" fmla="*/ 328 w 534"/>
                <a:gd name="T67" fmla="*/ 482 h 576"/>
                <a:gd name="T68" fmla="*/ 484 w 534"/>
                <a:gd name="T69" fmla="*/ 221 h 576"/>
                <a:gd name="T70" fmla="*/ 534 w 534"/>
                <a:gd name="T71" fmla="*/ 250 h 576"/>
                <a:gd name="T72" fmla="*/ 347 w 534"/>
                <a:gd name="T73" fmla="*/ 563 h 576"/>
                <a:gd name="T74" fmla="*/ 347 w 534"/>
                <a:gd name="T75" fmla="*/ 563 h 576"/>
                <a:gd name="T76" fmla="*/ 343 w 534"/>
                <a:gd name="T77" fmla="*/ 568 h 576"/>
                <a:gd name="T78" fmla="*/ 337 w 534"/>
                <a:gd name="T79" fmla="*/ 573 h 576"/>
                <a:gd name="T80" fmla="*/ 330 w 534"/>
                <a:gd name="T81" fmla="*/ 575 h 576"/>
                <a:gd name="T82" fmla="*/ 322 w 534"/>
                <a:gd name="T83" fmla="*/ 576 h 576"/>
                <a:gd name="T84" fmla="*/ 322 w 534"/>
                <a:gd name="T8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4" h="576">
                  <a:moveTo>
                    <a:pt x="322" y="576"/>
                  </a:moveTo>
                  <a:lnTo>
                    <a:pt x="322" y="576"/>
                  </a:lnTo>
                  <a:lnTo>
                    <a:pt x="320" y="576"/>
                  </a:lnTo>
                  <a:lnTo>
                    <a:pt x="320" y="576"/>
                  </a:lnTo>
                  <a:lnTo>
                    <a:pt x="312" y="574"/>
                  </a:lnTo>
                  <a:lnTo>
                    <a:pt x="305" y="570"/>
                  </a:lnTo>
                  <a:lnTo>
                    <a:pt x="300" y="565"/>
                  </a:lnTo>
                  <a:lnTo>
                    <a:pt x="296" y="558"/>
                  </a:lnTo>
                  <a:lnTo>
                    <a:pt x="228" y="372"/>
                  </a:lnTo>
                  <a:lnTo>
                    <a:pt x="34" y="405"/>
                  </a:lnTo>
                  <a:lnTo>
                    <a:pt x="34" y="405"/>
                  </a:lnTo>
                  <a:lnTo>
                    <a:pt x="25" y="406"/>
                  </a:lnTo>
                  <a:lnTo>
                    <a:pt x="17" y="404"/>
                  </a:lnTo>
                  <a:lnTo>
                    <a:pt x="11" y="400"/>
                  </a:lnTo>
                  <a:lnTo>
                    <a:pt x="5" y="394"/>
                  </a:lnTo>
                  <a:lnTo>
                    <a:pt x="5" y="394"/>
                  </a:lnTo>
                  <a:lnTo>
                    <a:pt x="2" y="387"/>
                  </a:lnTo>
                  <a:lnTo>
                    <a:pt x="0" y="378"/>
                  </a:lnTo>
                  <a:lnTo>
                    <a:pt x="1" y="370"/>
                  </a:lnTo>
                  <a:lnTo>
                    <a:pt x="4" y="363"/>
                  </a:lnTo>
                  <a:lnTo>
                    <a:pt x="214" y="0"/>
                  </a:lnTo>
                  <a:lnTo>
                    <a:pt x="264" y="28"/>
                  </a:lnTo>
                  <a:lnTo>
                    <a:pt x="84" y="339"/>
                  </a:lnTo>
                  <a:lnTo>
                    <a:pt x="243" y="313"/>
                  </a:lnTo>
                  <a:lnTo>
                    <a:pt x="243" y="313"/>
                  </a:lnTo>
                  <a:lnTo>
                    <a:pt x="248" y="312"/>
                  </a:lnTo>
                  <a:lnTo>
                    <a:pt x="252" y="313"/>
                  </a:lnTo>
                  <a:lnTo>
                    <a:pt x="257" y="314"/>
                  </a:lnTo>
                  <a:lnTo>
                    <a:pt x="261" y="316"/>
                  </a:lnTo>
                  <a:lnTo>
                    <a:pt x="265" y="319"/>
                  </a:lnTo>
                  <a:lnTo>
                    <a:pt x="269" y="322"/>
                  </a:lnTo>
                  <a:lnTo>
                    <a:pt x="272" y="326"/>
                  </a:lnTo>
                  <a:lnTo>
                    <a:pt x="274" y="331"/>
                  </a:lnTo>
                  <a:lnTo>
                    <a:pt x="328" y="482"/>
                  </a:lnTo>
                  <a:lnTo>
                    <a:pt x="484" y="221"/>
                  </a:lnTo>
                  <a:lnTo>
                    <a:pt x="534" y="250"/>
                  </a:lnTo>
                  <a:lnTo>
                    <a:pt x="347" y="563"/>
                  </a:lnTo>
                  <a:lnTo>
                    <a:pt x="347" y="563"/>
                  </a:lnTo>
                  <a:lnTo>
                    <a:pt x="343" y="568"/>
                  </a:lnTo>
                  <a:lnTo>
                    <a:pt x="337" y="573"/>
                  </a:lnTo>
                  <a:lnTo>
                    <a:pt x="330" y="575"/>
                  </a:lnTo>
                  <a:lnTo>
                    <a:pt x="322" y="576"/>
                  </a:lnTo>
                  <a:lnTo>
                    <a:pt x="322" y="5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92">
              <a:extLst>
                <a:ext uri="{FF2B5EF4-FFF2-40B4-BE49-F238E27FC236}">
                  <a16:creationId xmlns:a16="http://schemas.microsoft.com/office/drawing/2014/main" id="{777F2825-49F3-C7E2-1923-1648EC3C1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7363" y="938213"/>
              <a:ext cx="141288" cy="150813"/>
            </a:xfrm>
            <a:custGeom>
              <a:avLst/>
              <a:gdLst>
                <a:gd name="T0" fmla="*/ 210 w 533"/>
                <a:gd name="T1" fmla="*/ 571 h 571"/>
                <a:gd name="T2" fmla="*/ 210 w 533"/>
                <a:gd name="T3" fmla="*/ 571 h 571"/>
                <a:gd name="T4" fmla="*/ 203 w 533"/>
                <a:gd name="T5" fmla="*/ 570 h 571"/>
                <a:gd name="T6" fmla="*/ 196 w 533"/>
                <a:gd name="T7" fmla="*/ 568 h 571"/>
                <a:gd name="T8" fmla="*/ 190 w 533"/>
                <a:gd name="T9" fmla="*/ 563 h 571"/>
                <a:gd name="T10" fmla="*/ 186 w 533"/>
                <a:gd name="T11" fmla="*/ 558 h 571"/>
                <a:gd name="T12" fmla="*/ 0 w 533"/>
                <a:gd name="T13" fmla="*/ 247 h 571"/>
                <a:gd name="T14" fmla="*/ 49 w 533"/>
                <a:gd name="T15" fmla="*/ 218 h 571"/>
                <a:gd name="T16" fmla="*/ 204 w 533"/>
                <a:gd name="T17" fmla="*/ 477 h 571"/>
                <a:gd name="T18" fmla="*/ 260 w 533"/>
                <a:gd name="T19" fmla="*/ 326 h 571"/>
                <a:gd name="T20" fmla="*/ 260 w 533"/>
                <a:gd name="T21" fmla="*/ 326 h 571"/>
                <a:gd name="T22" fmla="*/ 262 w 533"/>
                <a:gd name="T23" fmla="*/ 321 h 571"/>
                <a:gd name="T24" fmla="*/ 265 w 533"/>
                <a:gd name="T25" fmla="*/ 317 h 571"/>
                <a:gd name="T26" fmla="*/ 268 w 533"/>
                <a:gd name="T27" fmla="*/ 314 h 571"/>
                <a:gd name="T28" fmla="*/ 272 w 533"/>
                <a:gd name="T29" fmla="*/ 311 h 571"/>
                <a:gd name="T30" fmla="*/ 276 w 533"/>
                <a:gd name="T31" fmla="*/ 309 h 571"/>
                <a:gd name="T32" fmla="*/ 281 w 533"/>
                <a:gd name="T33" fmla="*/ 308 h 571"/>
                <a:gd name="T34" fmla="*/ 286 w 533"/>
                <a:gd name="T35" fmla="*/ 307 h 571"/>
                <a:gd name="T36" fmla="*/ 291 w 533"/>
                <a:gd name="T37" fmla="*/ 308 h 571"/>
                <a:gd name="T38" fmla="*/ 450 w 533"/>
                <a:gd name="T39" fmla="*/ 334 h 571"/>
                <a:gd name="T40" fmla="*/ 272 w 533"/>
                <a:gd name="T41" fmla="*/ 28 h 571"/>
                <a:gd name="T42" fmla="*/ 322 w 533"/>
                <a:gd name="T43" fmla="*/ 0 h 571"/>
                <a:gd name="T44" fmla="*/ 529 w 533"/>
                <a:gd name="T45" fmla="*/ 358 h 571"/>
                <a:gd name="T46" fmla="*/ 529 w 533"/>
                <a:gd name="T47" fmla="*/ 358 h 571"/>
                <a:gd name="T48" fmla="*/ 532 w 533"/>
                <a:gd name="T49" fmla="*/ 365 h 571"/>
                <a:gd name="T50" fmla="*/ 533 w 533"/>
                <a:gd name="T51" fmla="*/ 373 h 571"/>
                <a:gd name="T52" fmla="*/ 532 w 533"/>
                <a:gd name="T53" fmla="*/ 382 h 571"/>
                <a:gd name="T54" fmla="*/ 528 w 533"/>
                <a:gd name="T55" fmla="*/ 389 h 571"/>
                <a:gd name="T56" fmla="*/ 528 w 533"/>
                <a:gd name="T57" fmla="*/ 389 h 571"/>
                <a:gd name="T58" fmla="*/ 523 w 533"/>
                <a:gd name="T59" fmla="*/ 395 h 571"/>
                <a:gd name="T60" fmla="*/ 515 w 533"/>
                <a:gd name="T61" fmla="*/ 399 h 571"/>
                <a:gd name="T62" fmla="*/ 507 w 533"/>
                <a:gd name="T63" fmla="*/ 401 h 571"/>
                <a:gd name="T64" fmla="*/ 499 w 533"/>
                <a:gd name="T65" fmla="*/ 400 h 571"/>
                <a:gd name="T66" fmla="*/ 304 w 533"/>
                <a:gd name="T67" fmla="*/ 367 h 571"/>
                <a:gd name="T68" fmla="*/ 237 w 533"/>
                <a:gd name="T69" fmla="*/ 553 h 571"/>
                <a:gd name="T70" fmla="*/ 237 w 533"/>
                <a:gd name="T71" fmla="*/ 553 h 571"/>
                <a:gd name="T72" fmla="*/ 234 w 533"/>
                <a:gd name="T73" fmla="*/ 560 h 571"/>
                <a:gd name="T74" fmla="*/ 228 w 533"/>
                <a:gd name="T75" fmla="*/ 565 h 571"/>
                <a:gd name="T76" fmla="*/ 221 w 533"/>
                <a:gd name="T77" fmla="*/ 569 h 571"/>
                <a:gd name="T78" fmla="*/ 213 w 533"/>
                <a:gd name="T79" fmla="*/ 571 h 571"/>
                <a:gd name="T80" fmla="*/ 213 w 533"/>
                <a:gd name="T81" fmla="*/ 571 h 571"/>
                <a:gd name="T82" fmla="*/ 210 w 533"/>
                <a:gd name="T83" fmla="*/ 571 h 571"/>
                <a:gd name="T84" fmla="*/ 210 w 533"/>
                <a:gd name="T85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33" h="571">
                  <a:moveTo>
                    <a:pt x="210" y="571"/>
                  </a:moveTo>
                  <a:lnTo>
                    <a:pt x="210" y="571"/>
                  </a:lnTo>
                  <a:lnTo>
                    <a:pt x="203" y="570"/>
                  </a:lnTo>
                  <a:lnTo>
                    <a:pt x="196" y="568"/>
                  </a:lnTo>
                  <a:lnTo>
                    <a:pt x="190" y="563"/>
                  </a:lnTo>
                  <a:lnTo>
                    <a:pt x="186" y="558"/>
                  </a:lnTo>
                  <a:lnTo>
                    <a:pt x="0" y="247"/>
                  </a:lnTo>
                  <a:lnTo>
                    <a:pt x="49" y="218"/>
                  </a:lnTo>
                  <a:lnTo>
                    <a:pt x="204" y="477"/>
                  </a:lnTo>
                  <a:lnTo>
                    <a:pt x="260" y="326"/>
                  </a:lnTo>
                  <a:lnTo>
                    <a:pt x="260" y="326"/>
                  </a:lnTo>
                  <a:lnTo>
                    <a:pt x="262" y="321"/>
                  </a:lnTo>
                  <a:lnTo>
                    <a:pt x="265" y="317"/>
                  </a:lnTo>
                  <a:lnTo>
                    <a:pt x="268" y="314"/>
                  </a:lnTo>
                  <a:lnTo>
                    <a:pt x="272" y="311"/>
                  </a:lnTo>
                  <a:lnTo>
                    <a:pt x="276" y="309"/>
                  </a:lnTo>
                  <a:lnTo>
                    <a:pt x="281" y="308"/>
                  </a:lnTo>
                  <a:lnTo>
                    <a:pt x="286" y="307"/>
                  </a:lnTo>
                  <a:lnTo>
                    <a:pt x="291" y="308"/>
                  </a:lnTo>
                  <a:lnTo>
                    <a:pt x="450" y="334"/>
                  </a:lnTo>
                  <a:lnTo>
                    <a:pt x="272" y="28"/>
                  </a:lnTo>
                  <a:lnTo>
                    <a:pt x="322" y="0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32" y="365"/>
                  </a:lnTo>
                  <a:lnTo>
                    <a:pt x="533" y="373"/>
                  </a:lnTo>
                  <a:lnTo>
                    <a:pt x="532" y="382"/>
                  </a:lnTo>
                  <a:lnTo>
                    <a:pt x="528" y="389"/>
                  </a:lnTo>
                  <a:lnTo>
                    <a:pt x="528" y="389"/>
                  </a:lnTo>
                  <a:lnTo>
                    <a:pt x="523" y="395"/>
                  </a:lnTo>
                  <a:lnTo>
                    <a:pt x="515" y="399"/>
                  </a:lnTo>
                  <a:lnTo>
                    <a:pt x="507" y="401"/>
                  </a:lnTo>
                  <a:lnTo>
                    <a:pt x="499" y="400"/>
                  </a:lnTo>
                  <a:lnTo>
                    <a:pt x="304" y="367"/>
                  </a:lnTo>
                  <a:lnTo>
                    <a:pt x="237" y="553"/>
                  </a:lnTo>
                  <a:lnTo>
                    <a:pt x="237" y="553"/>
                  </a:lnTo>
                  <a:lnTo>
                    <a:pt x="234" y="560"/>
                  </a:lnTo>
                  <a:lnTo>
                    <a:pt x="228" y="565"/>
                  </a:lnTo>
                  <a:lnTo>
                    <a:pt x="221" y="569"/>
                  </a:lnTo>
                  <a:lnTo>
                    <a:pt x="213" y="571"/>
                  </a:lnTo>
                  <a:lnTo>
                    <a:pt x="213" y="571"/>
                  </a:lnTo>
                  <a:lnTo>
                    <a:pt x="210" y="571"/>
                  </a:lnTo>
                  <a:lnTo>
                    <a:pt x="210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93">
              <a:extLst>
                <a:ext uri="{FF2B5EF4-FFF2-40B4-BE49-F238E27FC236}">
                  <a16:creationId xmlns:a16="http://schemas.microsoft.com/office/drawing/2014/main" id="{FFBCA6E1-ABF6-D379-C736-788A20CF06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9563" y="728663"/>
              <a:ext cx="284163" cy="285750"/>
            </a:xfrm>
            <a:custGeom>
              <a:avLst/>
              <a:gdLst>
                <a:gd name="T0" fmla="*/ 456 w 1076"/>
                <a:gd name="T1" fmla="*/ 1071 h 1078"/>
                <a:gd name="T2" fmla="*/ 328 w 1076"/>
                <a:gd name="T3" fmla="*/ 1035 h 1078"/>
                <a:gd name="T4" fmla="*/ 216 w 1076"/>
                <a:gd name="T5" fmla="*/ 971 h 1078"/>
                <a:gd name="T6" fmla="*/ 122 w 1076"/>
                <a:gd name="T7" fmla="*/ 881 h 1078"/>
                <a:gd name="T8" fmla="*/ 52 w 1076"/>
                <a:gd name="T9" fmla="*/ 772 h 1078"/>
                <a:gd name="T10" fmla="*/ 10 w 1076"/>
                <a:gd name="T11" fmla="*/ 647 h 1078"/>
                <a:gd name="T12" fmla="*/ 0 w 1076"/>
                <a:gd name="T13" fmla="*/ 538 h 1078"/>
                <a:gd name="T14" fmla="*/ 16 w 1076"/>
                <a:gd name="T15" fmla="*/ 404 h 1078"/>
                <a:gd name="T16" fmla="*/ 64 w 1076"/>
                <a:gd name="T17" fmla="*/ 283 h 1078"/>
                <a:gd name="T18" fmla="*/ 139 w 1076"/>
                <a:gd name="T19" fmla="*/ 177 h 1078"/>
                <a:gd name="T20" fmla="*/ 237 w 1076"/>
                <a:gd name="T21" fmla="*/ 93 h 1078"/>
                <a:gd name="T22" fmla="*/ 353 w 1076"/>
                <a:gd name="T23" fmla="*/ 33 h 1078"/>
                <a:gd name="T24" fmla="*/ 482 w 1076"/>
                <a:gd name="T25" fmla="*/ 3 h 1078"/>
                <a:gd name="T26" fmla="*/ 593 w 1076"/>
                <a:gd name="T27" fmla="*/ 3 h 1078"/>
                <a:gd name="T28" fmla="*/ 723 w 1076"/>
                <a:gd name="T29" fmla="*/ 33 h 1078"/>
                <a:gd name="T30" fmla="*/ 839 w 1076"/>
                <a:gd name="T31" fmla="*/ 93 h 1078"/>
                <a:gd name="T32" fmla="*/ 936 w 1076"/>
                <a:gd name="T33" fmla="*/ 177 h 1078"/>
                <a:gd name="T34" fmla="*/ 1011 w 1076"/>
                <a:gd name="T35" fmla="*/ 283 h 1078"/>
                <a:gd name="T36" fmla="*/ 1059 w 1076"/>
                <a:gd name="T37" fmla="*/ 404 h 1078"/>
                <a:gd name="T38" fmla="*/ 1076 w 1076"/>
                <a:gd name="T39" fmla="*/ 538 h 1078"/>
                <a:gd name="T40" fmla="*/ 1065 w 1076"/>
                <a:gd name="T41" fmla="*/ 647 h 1078"/>
                <a:gd name="T42" fmla="*/ 1023 w 1076"/>
                <a:gd name="T43" fmla="*/ 772 h 1078"/>
                <a:gd name="T44" fmla="*/ 953 w 1076"/>
                <a:gd name="T45" fmla="*/ 881 h 1078"/>
                <a:gd name="T46" fmla="*/ 860 w 1076"/>
                <a:gd name="T47" fmla="*/ 971 h 1078"/>
                <a:gd name="T48" fmla="*/ 747 w 1076"/>
                <a:gd name="T49" fmla="*/ 1035 h 1078"/>
                <a:gd name="T50" fmla="*/ 620 w 1076"/>
                <a:gd name="T51" fmla="*/ 1071 h 1078"/>
                <a:gd name="T52" fmla="*/ 538 w 1076"/>
                <a:gd name="T53" fmla="*/ 57 h 1078"/>
                <a:gd name="T54" fmla="*/ 441 w 1076"/>
                <a:gd name="T55" fmla="*/ 67 h 1078"/>
                <a:gd name="T56" fmla="*/ 329 w 1076"/>
                <a:gd name="T57" fmla="*/ 105 h 1078"/>
                <a:gd name="T58" fmla="*/ 231 w 1076"/>
                <a:gd name="T59" fmla="*/ 168 h 1078"/>
                <a:gd name="T60" fmla="*/ 152 w 1076"/>
                <a:gd name="T61" fmla="*/ 250 h 1078"/>
                <a:gd name="T62" fmla="*/ 94 w 1076"/>
                <a:gd name="T63" fmla="*/ 351 h 1078"/>
                <a:gd name="T64" fmla="*/ 61 w 1076"/>
                <a:gd name="T65" fmla="*/ 466 h 1078"/>
                <a:gd name="T66" fmla="*/ 56 w 1076"/>
                <a:gd name="T67" fmla="*/ 564 h 1078"/>
                <a:gd name="T68" fmla="*/ 77 w 1076"/>
                <a:gd name="T69" fmla="*/ 682 h 1078"/>
                <a:gd name="T70" fmla="*/ 126 w 1076"/>
                <a:gd name="T71" fmla="*/ 789 h 1078"/>
                <a:gd name="T72" fmla="*/ 198 w 1076"/>
                <a:gd name="T73" fmla="*/ 880 h 1078"/>
                <a:gd name="T74" fmla="*/ 288 w 1076"/>
                <a:gd name="T75" fmla="*/ 950 h 1078"/>
                <a:gd name="T76" fmla="*/ 395 w 1076"/>
                <a:gd name="T77" fmla="*/ 999 h 1078"/>
                <a:gd name="T78" fmla="*/ 513 w 1076"/>
                <a:gd name="T79" fmla="*/ 1020 h 1078"/>
                <a:gd name="T80" fmla="*/ 611 w 1076"/>
                <a:gd name="T81" fmla="*/ 1015 h 1078"/>
                <a:gd name="T82" fmla="*/ 725 w 1076"/>
                <a:gd name="T83" fmla="*/ 983 h 1078"/>
                <a:gd name="T84" fmla="*/ 826 w 1076"/>
                <a:gd name="T85" fmla="*/ 925 h 1078"/>
                <a:gd name="T86" fmla="*/ 910 w 1076"/>
                <a:gd name="T87" fmla="*/ 845 h 1078"/>
                <a:gd name="T88" fmla="*/ 972 w 1076"/>
                <a:gd name="T89" fmla="*/ 747 h 1078"/>
                <a:gd name="T90" fmla="*/ 1010 w 1076"/>
                <a:gd name="T91" fmla="*/ 635 h 1078"/>
                <a:gd name="T92" fmla="*/ 1020 w 1076"/>
                <a:gd name="T93" fmla="*/ 538 h 1078"/>
                <a:gd name="T94" fmla="*/ 1005 w 1076"/>
                <a:gd name="T95" fmla="*/ 418 h 1078"/>
                <a:gd name="T96" fmla="*/ 961 w 1076"/>
                <a:gd name="T97" fmla="*/ 309 h 1078"/>
                <a:gd name="T98" fmla="*/ 895 w 1076"/>
                <a:gd name="T99" fmla="*/ 215 h 1078"/>
                <a:gd name="T100" fmla="*/ 807 w 1076"/>
                <a:gd name="T101" fmla="*/ 139 h 1078"/>
                <a:gd name="T102" fmla="*/ 704 w 1076"/>
                <a:gd name="T103" fmla="*/ 86 h 1078"/>
                <a:gd name="T104" fmla="*/ 586 w 1076"/>
                <a:gd name="T105" fmla="*/ 60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76" h="1078">
                  <a:moveTo>
                    <a:pt x="538" y="1078"/>
                  </a:moveTo>
                  <a:lnTo>
                    <a:pt x="538" y="1078"/>
                  </a:lnTo>
                  <a:lnTo>
                    <a:pt x="510" y="1077"/>
                  </a:lnTo>
                  <a:lnTo>
                    <a:pt x="482" y="1075"/>
                  </a:lnTo>
                  <a:lnTo>
                    <a:pt x="456" y="1071"/>
                  </a:lnTo>
                  <a:lnTo>
                    <a:pt x="429" y="1067"/>
                  </a:lnTo>
                  <a:lnTo>
                    <a:pt x="404" y="1060"/>
                  </a:lnTo>
                  <a:lnTo>
                    <a:pt x="377" y="1053"/>
                  </a:lnTo>
                  <a:lnTo>
                    <a:pt x="353" y="1044"/>
                  </a:lnTo>
                  <a:lnTo>
                    <a:pt x="328" y="1035"/>
                  </a:lnTo>
                  <a:lnTo>
                    <a:pt x="305" y="1024"/>
                  </a:lnTo>
                  <a:lnTo>
                    <a:pt x="281" y="1012"/>
                  </a:lnTo>
                  <a:lnTo>
                    <a:pt x="258" y="999"/>
                  </a:lnTo>
                  <a:lnTo>
                    <a:pt x="237" y="985"/>
                  </a:lnTo>
                  <a:lnTo>
                    <a:pt x="216" y="971"/>
                  </a:lnTo>
                  <a:lnTo>
                    <a:pt x="196" y="954"/>
                  </a:lnTo>
                  <a:lnTo>
                    <a:pt x="175" y="937"/>
                  </a:lnTo>
                  <a:lnTo>
                    <a:pt x="157" y="919"/>
                  </a:lnTo>
                  <a:lnTo>
                    <a:pt x="139" y="901"/>
                  </a:lnTo>
                  <a:lnTo>
                    <a:pt x="122" y="881"/>
                  </a:lnTo>
                  <a:lnTo>
                    <a:pt x="107" y="860"/>
                  </a:lnTo>
                  <a:lnTo>
                    <a:pt x="92" y="839"/>
                  </a:lnTo>
                  <a:lnTo>
                    <a:pt x="77" y="818"/>
                  </a:lnTo>
                  <a:lnTo>
                    <a:pt x="64" y="795"/>
                  </a:lnTo>
                  <a:lnTo>
                    <a:pt x="52" y="772"/>
                  </a:lnTo>
                  <a:lnTo>
                    <a:pt x="42" y="748"/>
                  </a:lnTo>
                  <a:lnTo>
                    <a:pt x="32" y="724"/>
                  </a:lnTo>
                  <a:lnTo>
                    <a:pt x="24" y="699"/>
                  </a:lnTo>
                  <a:lnTo>
                    <a:pt x="16" y="674"/>
                  </a:lnTo>
                  <a:lnTo>
                    <a:pt x="10" y="647"/>
                  </a:lnTo>
                  <a:lnTo>
                    <a:pt x="6" y="621"/>
                  </a:lnTo>
                  <a:lnTo>
                    <a:pt x="2" y="594"/>
                  </a:lnTo>
                  <a:lnTo>
                    <a:pt x="0" y="567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0" y="511"/>
                  </a:lnTo>
                  <a:lnTo>
                    <a:pt x="2" y="484"/>
                  </a:lnTo>
                  <a:lnTo>
                    <a:pt x="6" y="456"/>
                  </a:lnTo>
                  <a:lnTo>
                    <a:pt x="10" y="430"/>
                  </a:lnTo>
                  <a:lnTo>
                    <a:pt x="16" y="404"/>
                  </a:lnTo>
                  <a:lnTo>
                    <a:pt x="24" y="379"/>
                  </a:lnTo>
                  <a:lnTo>
                    <a:pt x="32" y="353"/>
                  </a:lnTo>
                  <a:lnTo>
                    <a:pt x="42" y="329"/>
                  </a:lnTo>
                  <a:lnTo>
                    <a:pt x="52" y="306"/>
                  </a:lnTo>
                  <a:lnTo>
                    <a:pt x="64" y="283"/>
                  </a:lnTo>
                  <a:lnTo>
                    <a:pt x="77" y="260"/>
                  </a:lnTo>
                  <a:lnTo>
                    <a:pt x="92" y="238"/>
                  </a:lnTo>
                  <a:lnTo>
                    <a:pt x="107" y="217"/>
                  </a:lnTo>
                  <a:lnTo>
                    <a:pt x="122" y="197"/>
                  </a:lnTo>
                  <a:lnTo>
                    <a:pt x="139" y="177"/>
                  </a:lnTo>
                  <a:lnTo>
                    <a:pt x="157" y="159"/>
                  </a:lnTo>
                  <a:lnTo>
                    <a:pt x="175" y="140"/>
                  </a:lnTo>
                  <a:lnTo>
                    <a:pt x="196" y="123"/>
                  </a:lnTo>
                  <a:lnTo>
                    <a:pt x="216" y="107"/>
                  </a:lnTo>
                  <a:lnTo>
                    <a:pt x="237" y="93"/>
                  </a:lnTo>
                  <a:lnTo>
                    <a:pt x="258" y="79"/>
                  </a:lnTo>
                  <a:lnTo>
                    <a:pt x="281" y="66"/>
                  </a:lnTo>
                  <a:lnTo>
                    <a:pt x="305" y="53"/>
                  </a:lnTo>
                  <a:lnTo>
                    <a:pt x="328" y="42"/>
                  </a:lnTo>
                  <a:lnTo>
                    <a:pt x="353" y="33"/>
                  </a:lnTo>
                  <a:lnTo>
                    <a:pt x="377" y="24"/>
                  </a:lnTo>
                  <a:lnTo>
                    <a:pt x="404" y="17"/>
                  </a:lnTo>
                  <a:lnTo>
                    <a:pt x="429" y="11"/>
                  </a:lnTo>
                  <a:lnTo>
                    <a:pt x="456" y="6"/>
                  </a:lnTo>
                  <a:lnTo>
                    <a:pt x="482" y="3"/>
                  </a:lnTo>
                  <a:lnTo>
                    <a:pt x="510" y="1"/>
                  </a:lnTo>
                  <a:lnTo>
                    <a:pt x="538" y="0"/>
                  </a:lnTo>
                  <a:lnTo>
                    <a:pt x="538" y="0"/>
                  </a:lnTo>
                  <a:lnTo>
                    <a:pt x="565" y="1"/>
                  </a:lnTo>
                  <a:lnTo>
                    <a:pt x="593" y="3"/>
                  </a:lnTo>
                  <a:lnTo>
                    <a:pt x="620" y="6"/>
                  </a:lnTo>
                  <a:lnTo>
                    <a:pt x="646" y="11"/>
                  </a:lnTo>
                  <a:lnTo>
                    <a:pt x="672" y="17"/>
                  </a:lnTo>
                  <a:lnTo>
                    <a:pt x="698" y="24"/>
                  </a:lnTo>
                  <a:lnTo>
                    <a:pt x="723" y="33"/>
                  </a:lnTo>
                  <a:lnTo>
                    <a:pt x="747" y="42"/>
                  </a:lnTo>
                  <a:lnTo>
                    <a:pt x="771" y="53"/>
                  </a:lnTo>
                  <a:lnTo>
                    <a:pt x="795" y="66"/>
                  </a:lnTo>
                  <a:lnTo>
                    <a:pt x="817" y="79"/>
                  </a:lnTo>
                  <a:lnTo>
                    <a:pt x="839" y="93"/>
                  </a:lnTo>
                  <a:lnTo>
                    <a:pt x="860" y="107"/>
                  </a:lnTo>
                  <a:lnTo>
                    <a:pt x="880" y="123"/>
                  </a:lnTo>
                  <a:lnTo>
                    <a:pt x="900" y="140"/>
                  </a:lnTo>
                  <a:lnTo>
                    <a:pt x="919" y="159"/>
                  </a:lnTo>
                  <a:lnTo>
                    <a:pt x="936" y="177"/>
                  </a:lnTo>
                  <a:lnTo>
                    <a:pt x="953" y="197"/>
                  </a:lnTo>
                  <a:lnTo>
                    <a:pt x="969" y="217"/>
                  </a:lnTo>
                  <a:lnTo>
                    <a:pt x="984" y="238"/>
                  </a:lnTo>
                  <a:lnTo>
                    <a:pt x="999" y="260"/>
                  </a:lnTo>
                  <a:lnTo>
                    <a:pt x="1011" y="283"/>
                  </a:lnTo>
                  <a:lnTo>
                    <a:pt x="1023" y="306"/>
                  </a:lnTo>
                  <a:lnTo>
                    <a:pt x="1034" y="329"/>
                  </a:lnTo>
                  <a:lnTo>
                    <a:pt x="1043" y="353"/>
                  </a:lnTo>
                  <a:lnTo>
                    <a:pt x="1052" y="379"/>
                  </a:lnTo>
                  <a:lnTo>
                    <a:pt x="1059" y="404"/>
                  </a:lnTo>
                  <a:lnTo>
                    <a:pt x="1065" y="430"/>
                  </a:lnTo>
                  <a:lnTo>
                    <a:pt x="1070" y="456"/>
                  </a:lnTo>
                  <a:lnTo>
                    <a:pt x="1073" y="484"/>
                  </a:lnTo>
                  <a:lnTo>
                    <a:pt x="1075" y="511"/>
                  </a:lnTo>
                  <a:lnTo>
                    <a:pt x="1076" y="538"/>
                  </a:lnTo>
                  <a:lnTo>
                    <a:pt x="1076" y="538"/>
                  </a:lnTo>
                  <a:lnTo>
                    <a:pt x="1075" y="567"/>
                  </a:lnTo>
                  <a:lnTo>
                    <a:pt x="1073" y="594"/>
                  </a:lnTo>
                  <a:lnTo>
                    <a:pt x="1070" y="621"/>
                  </a:lnTo>
                  <a:lnTo>
                    <a:pt x="1065" y="647"/>
                  </a:lnTo>
                  <a:lnTo>
                    <a:pt x="1059" y="674"/>
                  </a:lnTo>
                  <a:lnTo>
                    <a:pt x="1052" y="699"/>
                  </a:lnTo>
                  <a:lnTo>
                    <a:pt x="1043" y="724"/>
                  </a:lnTo>
                  <a:lnTo>
                    <a:pt x="1034" y="748"/>
                  </a:lnTo>
                  <a:lnTo>
                    <a:pt x="1023" y="772"/>
                  </a:lnTo>
                  <a:lnTo>
                    <a:pt x="1011" y="795"/>
                  </a:lnTo>
                  <a:lnTo>
                    <a:pt x="999" y="818"/>
                  </a:lnTo>
                  <a:lnTo>
                    <a:pt x="984" y="839"/>
                  </a:lnTo>
                  <a:lnTo>
                    <a:pt x="969" y="860"/>
                  </a:lnTo>
                  <a:lnTo>
                    <a:pt x="953" y="881"/>
                  </a:lnTo>
                  <a:lnTo>
                    <a:pt x="936" y="901"/>
                  </a:lnTo>
                  <a:lnTo>
                    <a:pt x="919" y="919"/>
                  </a:lnTo>
                  <a:lnTo>
                    <a:pt x="900" y="937"/>
                  </a:lnTo>
                  <a:lnTo>
                    <a:pt x="880" y="954"/>
                  </a:lnTo>
                  <a:lnTo>
                    <a:pt x="860" y="971"/>
                  </a:lnTo>
                  <a:lnTo>
                    <a:pt x="839" y="985"/>
                  </a:lnTo>
                  <a:lnTo>
                    <a:pt x="817" y="999"/>
                  </a:lnTo>
                  <a:lnTo>
                    <a:pt x="795" y="1012"/>
                  </a:lnTo>
                  <a:lnTo>
                    <a:pt x="771" y="1024"/>
                  </a:lnTo>
                  <a:lnTo>
                    <a:pt x="747" y="1035"/>
                  </a:lnTo>
                  <a:lnTo>
                    <a:pt x="723" y="1044"/>
                  </a:lnTo>
                  <a:lnTo>
                    <a:pt x="698" y="1053"/>
                  </a:lnTo>
                  <a:lnTo>
                    <a:pt x="672" y="1060"/>
                  </a:lnTo>
                  <a:lnTo>
                    <a:pt x="646" y="1067"/>
                  </a:lnTo>
                  <a:lnTo>
                    <a:pt x="620" y="1071"/>
                  </a:lnTo>
                  <a:lnTo>
                    <a:pt x="593" y="1075"/>
                  </a:lnTo>
                  <a:lnTo>
                    <a:pt x="565" y="1077"/>
                  </a:lnTo>
                  <a:lnTo>
                    <a:pt x="538" y="1078"/>
                  </a:lnTo>
                  <a:lnTo>
                    <a:pt x="538" y="1078"/>
                  </a:lnTo>
                  <a:close/>
                  <a:moveTo>
                    <a:pt x="538" y="57"/>
                  </a:moveTo>
                  <a:lnTo>
                    <a:pt x="538" y="57"/>
                  </a:lnTo>
                  <a:lnTo>
                    <a:pt x="513" y="58"/>
                  </a:lnTo>
                  <a:lnTo>
                    <a:pt x="488" y="60"/>
                  </a:lnTo>
                  <a:lnTo>
                    <a:pt x="464" y="63"/>
                  </a:lnTo>
                  <a:lnTo>
                    <a:pt x="441" y="67"/>
                  </a:lnTo>
                  <a:lnTo>
                    <a:pt x="418" y="72"/>
                  </a:lnTo>
                  <a:lnTo>
                    <a:pt x="395" y="79"/>
                  </a:lnTo>
                  <a:lnTo>
                    <a:pt x="372" y="86"/>
                  </a:lnTo>
                  <a:lnTo>
                    <a:pt x="350" y="95"/>
                  </a:lnTo>
                  <a:lnTo>
                    <a:pt x="329" y="105"/>
                  </a:lnTo>
                  <a:lnTo>
                    <a:pt x="309" y="115"/>
                  </a:lnTo>
                  <a:lnTo>
                    <a:pt x="288" y="127"/>
                  </a:lnTo>
                  <a:lnTo>
                    <a:pt x="268" y="139"/>
                  </a:lnTo>
                  <a:lnTo>
                    <a:pt x="250" y="152"/>
                  </a:lnTo>
                  <a:lnTo>
                    <a:pt x="231" y="168"/>
                  </a:lnTo>
                  <a:lnTo>
                    <a:pt x="214" y="183"/>
                  </a:lnTo>
                  <a:lnTo>
                    <a:pt x="198" y="198"/>
                  </a:lnTo>
                  <a:lnTo>
                    <a:pt x="181" y="215"/>
                  </a:lnTo>
                  <a:lnTo>
                    <a:pt x="166" y="232"/>
                  </a:lnTo>
                  <a:lnTo>
                    <a:pt x="152" y="250"/>
                  </a:lnTo>
                  <a:lnTo>
                    <a:pt x="138" y="270"/>
                  </a:lnTo>
                  <a:lnTo>
                    <a:pt x="126" y="289"/>
                  </a:lnTo>
                  <a:lnTo>
                    <a:pt x="114" y="309"/>
                  </a:lnTo>
                  <a:lnTo>
                    <a:pt x="104" y="330"/>
                  </a:lnTo>
                  <a:lnTo>
                    <a:pt x="94" y="351"/>
                  </a:lnTo>
                  <a:lnTo>
                    <a:pt x="85" y="374"/>
                  </a:lnTo>
                  <a:lnTo>
                    <a:pt x="77" y="396"/>
                  </a:lnTo>
                  <a:lnTo>
                    <a:pt x="71" y="418"/>
                  </a:lnTo>
                  <a:lnTo>
                    <a:pt x="65" y="441"/>
                  </a:lnTo>
                  <a:lnTo>
                    <a:pt x="61" y="466"/>
                  </a:lnTo>
                  <a:lnTo>
                    <a:pt x="58" y="490"/>
                  </a:lnTo>
                  <a:lnTo>
                    <a:pt x="56" y="514"/>
                  </a:lnTo>
                  <a:lnTo>
                    <a:pt x="56" y="538"/>
                  </a:lnTo>
                  <a:lnTo>
                    <a:pt x="56" y="538"/>
                  </a:lnTo>
                  <a:lnTo>
                    <a:pt x="56" y="564"/>
                  </a:lnTo>
                  <a:lnTo>
                    <a:pt x="58" y="588"/>
                  </a:lnTo>
                  <a:lnTo>
                    <a:pt x="61" y="612"/>
                  </a:lnTo>
                  <a:lnTo>
                    <a:pt x="65" y="635"/>
                  </a:lnTo>
                  <a:lnTo>
                    <a:pt x="71" y="659"/>
                  </a:lnTo>
                  <a:lnTo>
                    <a:pt x="77" y="682"/>
                  </a:lnTo>
                  <a:lnTo>
                    <a:pt x="85" y="704"/>
                  </a:lnTo>
                  <a:lnTo>
                    <a:pt x="94" y="726"/>
                  </a:lnTo>
                  <a:lnTo>
                    <a:pt x="104" y="747"/>
                  </a:lnTo>
                  <a:lnTo>
                    <a:pt x="114" y="769"/>
                  </a:lnTo>
                  <a:lnTo>
                    <a:pt x="126" y="789"/>
                  </a:lnTo>
                  <a:lnTo>
                    <a:pt x="138" y="808"/>
                  </a:lnTo>
                  <a:lnTo>
                    <a:pt x="152" y="827"/>
                  </a:lnTo>
                  <a:lnTo>
                    <a:pt x="166" y="845"/>
                  </a:lnTo>
                  <a:lnTo>
                    <a:pt x="181" y="862"/>
                  </a:lnTo>
                  <a:lnTo>
                    <a:pt x="198" y="880"/>
                  </a:lnTo>
                  <a:lnTo>
                    <a:pt x="214" y="895"/>
                  </a:lnTo>
                  <a:lnTo>
                    <a:pt x="231" y="910"/>
                  </a:lnTo>
                  <a:lnTo>
                    <a:pt x="250" y="925"/>
                  </a:lnTo>
                  <a:lnTo>
                    <a:pt x="268" y="938"/>
                  </a:lnTo>
                  <a:lnTo>
                    <a:pt x="288" y="950"/>
                  </a:lnTo>
                  <a:lnTo>
                    <a:pt x="309" y="962"/>
                  </a:lnTo>
                  <a:lnTo>
                    <a:pt x="329" y="973"/>
                  </a:lnTo>
                  <a:lnTo>
                    <a:pt x="350" y="983"/>
                  </a:lnTo>
                  <a:lnTo>
                    <a:pt x="372" y="992"/>
                  </a:lnTo>
                  <a:lnTo>
                    <a:pt x="395" y="999"/>
                  </a:lnTo>
                  <a:lnTo>
                    <a:pt x="418" y="1005"/>
                  </a:lnTo>
                  <a:lnTo>
                    <a:pt x="441" y="1011"/>
                  </a:lnTo>
                  <a:lnTo>
                    <a:pt x="464" y="1015"/>
                  </a:lnTo>
                  <a:lnTo>
                    <a:pt x="488" y="1018"/>
                  </a:lnTo>
                  <a:lnTo>
                    <a:pt x="513" y="1020"/>
                  </a:lnTo>
                  <a:lnTo>
                    <a:pt x="538" y="1021"/>
                  </a:lnTo>
                  <a:lnTo>
                    <a:pt x="538" y="1021"/>
                  </a:lnTo>
                  <a:lnTo>
                    <a:pt x="562" y="1020"/>
                  </a:lnTo>
                  <a:lnTo>
                    <a:pt x="586" y="1018"/>
                  </a:lnTo>
                  <a:lnTo>
                    <a:pt x="611" y="1015"/>
                  </a:lnTo>
                  <a:lnTo>
                    <a:pt x="635" y="1011"/>
                  </a:lnTo>
                  <a:lnTo>
                    <a:pt x="658" y="1005"/>
                  </a:lnTo>
                  <a:lnTo>
                    <a:pt x="680" y="999"/>
                  </a:lnTo>
                  <a:lnTo>
                    <a:pt x="704" y="992"/>
                  </a:lnTo>
                  <a:lnTo>
                    <a:pt x="725" y="983"/>
                  </a:lnTo>
                  <a:lnTo>
                    <a:pt x="746" y="973"/>
                  </a:lnTo>
                  <a:lnTo>
                    <a:pt x="767" y="962"/>
                  </a:lnTo>
                  <a:lnTo>
                    <a:pt x="787" y="950"/>
                  </a:lnTo>
                  <a:lnTo>
                    <a:pt x="807" y="938"/>
                  </a:lnTo>
                  <a:lnTo>
                    <a:pt x="826" y="925"/>
                  </a:lnTo>
                  <a:lnTo>
                    <a:pt x="844" y="910"/>
                  </a:lnTo>
                  <a:lnTo>
                    <a:pt x="861" y="895"/>
                  </a:lnTo>
                  <a:lnTo>
                    <a:pt x="878" y="880"/>
                  </a:lnTo>
                  <a:lnTo>
                    <a:pt x="895" y="862"/>
                  </a:lnTo>
                  <a:lnTo>
                    <a:pt x="910" y="845"/>
                  </a:lnTo>
                  <a:lnTo>
                    <a:pt x="924" y="827"/>
                  </a:lnTo>
                  <a:lnTo>
                    <a:pt x="937" y="808"/>
                  </a:lnTo>
                  <a:lnTo>
                    <a:pt x="950" y="789"/>
                  </a:lnTo>
                  <a:lnTo>
                    <a:pt x="961" y="769"/>
                  </a:lnTo>
                  <a:lnTo>
                    <a:pt x="972" y="747"/>
                  </a:lnTo>
                  <a:lnTo>
                    <a:pt x="981" y="726"/>
                  </a:lnTo>
                  <a:lnTo>
                    <a:pt x="990" y="704"/>
                  </a:lnTo>
                  <a:lnTo>
                    <a:pt x="998" y="682"/>
                  </a:lnTo>
                  <a:lnTo>
                    <a:pt x="1005" y="659"/>
                  </a:lnTo>
                  <a:lnTo>
                    <a:pt x="1010" y="635"/>
                  </a:lnTo>
                  <a:lnTo>
                    <a:pt x="1014" y="612"/>
                  </a:lnTo>
                  <a:lnTo>
                    <a:pt x="1017" y="588"/>
                  </a:lnTo>
                  <a:lnTo>
                    <a:pt x="1019" y="564"/>
                  </a:lnTo>
                  <a:lnTo>
                    <a:pt x="1020" y="538"/>
                  </a:lnTo>
                  <a:lnTo>
                    <a:pt x="1020" y="538"/>
                  </a:lnTo>
                  <a:lnTo>
                    <a:pt x="1019" y="514"/>
                  </a:lnTo>
                  <a:lnTo>
                    <a:pt x="1017" y="490"/>
                  </a:lnTo>
                  <a:lnTo>
                    <a:pt x="1014" y="466"/>
                  </a:lnTo>
                  <a:lnTo>
                    <a:pt x="1010" y="441"/>
                  </a:lnTo>
                  <a:lnTo>
                    <a:pt x="1005" y="418"/>
                  </a:lnTo>
                  <a:lnTo>
                    <a:pt x="998" y="396"/>
                  </a:lnTo>
                  <a:lnTo>
                    <a:pt x="990" y="374"/>
                  </a:lnTo>
                  <a:lnTo>
                    <a:pt x="981" y="351"/>
                  </a:lnTo>
                  <a:lnTo>
                    <a:pt x="972" y="330"/>
                  </a:lnTo>
                  <a:lnTo>
                    <a:pt x="961" y="309"/>
                  </a:lnTo>
                  <a:lnTo>
                    <a:pt x="950" y="289"/>
                  </a:lnTo>
                  <a:lnTo>
                    <a:pt x="937" y="270"/>
                  </a:lnTo>
                  <a:lnTo>
                    <a:pt x="924" y="250"/>
                  </a:lnTo>
                  <a:lnTo>
                    <a:pt x="910" y="232"/>
                  </a:lnTo>
                  <a:lnTo>
                    <a:pt x="895" y="215"/>
                  </a:lnTo>
                  <a:lnTo>
                    <a:pt x="878" y="198"/>
                  </a:lnTo>
                  <a:lnTo>
                    <a:pt x="861" y="183"/>
                  </a:lnTo>
                  <a:lnTo>
                    <a:pt x="844" y="168"/>
                  </a:lnTo>
                  <a:lnTo>
                    <a:pt x="826" y="152"/>
                  </a:lnTo>
                  <a:lnTo>
                    <a:pt x="807" y="139"/>
                  </a:lnTo>
                  <a:lnTo>
                    <a:pt x="787" y="127"/>
                  </a:lnTo>
                  <a:lnTo>
                    <a:pt x="767" y="115"/>
                  </a:lnTo>
                  <a:lnTo>
                    <a:pt x="746" y="105"/>
                  </a:lnTo>
                  <a:lnTo>
                    <a:pt x="725" y="95"/>
                  </a:lnTo>
                  <a:lnTo>
                    <a:pt x="704" y="86"/>
                  </a:lnTo>
                  <a:lnTo>
                    <a:pt x="680" y="79"/>
                  </a:lnTo>
                  <a:lnTo>
                    <a:pt x="658" y="72"/>
                  </a:lnTo>
                  <a:lnTo>
                    <a:pt x="635" y="67"/>
                  </a:lnTo>
                  <a:lnTo>
                    <a:pt x="611" y="63"/>
                  </a:lnTo>
                  <a:lnTo>
                    <a:pt x="586" y="60"/>
                  </a:lnTo>
                  <a:lnTo>
                    <a:pt x="562" y="58"/>
                  </a:lnTo>
                  <a:lnTo>
                    <a:pt x="538" y="57"/>
                  </a:lnTo>
                  <a:lnTo>
                    <a:pt x="53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94">
              <a:extLst>
                <a:ext uri="{FF2B5EF4-FFF2-40B4-BE49-F238E27FC236}">
                  <a16:creationId xmlns:a16="http://schemas.microsoft.com/office/drawing/2014/main" id="{A90E3ADC-1BF6-75C4-7DE9-1491E13EBE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86238" y="796925"/>
              <a:ext cx="149225" cy="142875"/>
            </a:xfrm>
            <a:custGeom>
              <a:avLst/>
              <a:gdLst>
                <a:gd name="T0" fmla="*/ 446 w 567"/>
                <a:gd name="T1" fmla="*/ 537 h 538"/>
                <a:gd name="T2" fmla="*/ 128 w 567"/>
                <a:gd name="T3" fmla="*/ 534 h 538"/>
                <a:gd name="T4" fmla="*/ 120 w 567"/>
                <a:gd name="T5" fmla="*/ 537 h 538"/>
                <a:gd name="T6" fmla="*/ 108 w 567"/>
                <a:gd name="T7" fmla="*/ 538 h 538"/>
                <a:gd name="T8" fmla="*/ 96 w 567"/>
                <a:gd name="T9" fmla="*/ 532 h 538"/>
                <a:gd name="T10" fmla="*/ 91 w 567"/>
                <a:gd name="T11" fmla="*/ 526 h 538"/>
                <a:gd name="T12" fmla="*/ 86 w 567"/>
                <a:gd name="T13" fmla="*/ 515 h 538"/>
                <a:gd name="T14" fmla="*/ 86 w 567"/>
                <a:gd name="T15" fmla="*/ 501 h 538"/>
                <a:gd name="T16" fmla="*/ 11 w 567"/>
                <a:gd name="T17" fmla="*/ 220 h 538"/>
                <a:gd name="T18" fmla="*/ 3 w 567"/>
                <a:gd name="T19" fmla="*/ 210 h 538"/>
                <a:gd name="T20" fmla="*/ 0 w 567"/>
                <a:gd name="T21" fmla="*/ 197 h 538"/>
                <a:gd name="T22" fmla="*/ 2 w 567"/>
                <a:gd name="T23" fmla="*/ 188 h 538"/>
                <a:gd name="T24" fmla="*/ 9 w 567"/>
                <a:gd name="T25" fmla="*/ 177 h 538"/>
                <a:gd name="T26" fmla="*/ 20 w 567"/>
                <a:gd name="T27" fmla="*/ 171 h 538"/>
                <a:gd name="T28" fmla="*/ 181 w 567"/>
                <a:gd name="T29" fmla="*/ 169 h 538"/>
                <a:gd name="T30" fmla="*/ 261 w 567"/>
                <a:gd name="T31" fmla="*/ 12 h 538"/>
                <a:gd name="T32" fmla="*/ 276 w 567"/>
                <a:gd name="T33" fmla="*/ 1 h 538"/>
                <a:gd name="T34" fmla="*/ 298 w 567"/>
                <a:gd name="T35" fmla="*/ 5 h 538"/>
                <a:gd name="T36" fmla="*/ 309 w 567"/>
                <a:gd name="T37" fmla="*/ 15 h 538"/>
                <a:gd name="T38" fmla="*/ 539 w 567"/>
                <a:gd name="T39" fmla="*/ 169 h 538"/>
                <a:gd name="T40" fmla="*/ 552 w 567"/>
                <a:gd name="T41" fmla="*/ 172 h 538"/>
                <a:gd name="T42" fmla="*/ 562 w 567"/>
                <a:gd name="T43" fmla="*/ 180 h 538"/>
                <a:gd name="T44" fmla="*/ 566 w 567"/>
                <a:gd name="T45" fmla="*/ 188 h 538"/>
                <a:gd name="T46" fmla="*/ 567 w 567"/>
                <a:gd name="T47" fmla="*/ 201 h 538"/>
                <a:gd name="T48" fmla="*/ 563 w 567"/>
                <a:gd name="T49" fmla="*/ 214 h 538"/>
                <a:gd name="T50" fmla="*/ 429 w 567"/>
                <a:gd name="T51" fmla="*/ 322 h 538"/>
                <a:gd name="T52" fmla="*/ 482 w 567"/>
                <a:gd name="T53" fmla="*/ 505 h 538"/>
                <a:gd name="T54" fmla="*/ 481 w 567"/>
                <a:gd name="T55" fmla="*/ 519 h 538"/>
                <a:gd name="T56" fmla="*/ 474 w 567"/>
                <a:gd name="T57" fmla="*/ 530 h 538"/>
                <a:gd name="T58" fmla="*/ 467 w 567"/>
                <a:gd name="T59" fmla="*/ 535 h 538"/>
                <a:gd name="T60" fmla="*/ 454 w 567"/>
                <a:gd name="T61" fmla="*/ 538 h 538"/>
                <a:gd name="T62" fmla="*/ 284 w 567"/>
                <a:gd name="T63" fmla="*/ 375 h 538"/>
                <a:gd name="T64" fmla="*/ 406 w 567"/>
                <a:gd name="T65" fmla="*/ 446 h 538"/>
                <a:gd name="T66" fmla="*/ 369 w 567"/>
                <a:gd name="T67" fmla="*/ 315 h 538"/>
                <a:gd name="T68" fmla="*/ 374 w 567"/>
                <a:gd name="T69" fmla="*/ 295 h 538"/>
                <a:gd name="T70" fmla="*/ 458 w 567"/>
                <a:gd name="T71" fmla="*/ 226 h 538"/>
                <a:gd name="T72" fmla="*/ 361 w 567"/>
                <a:gd name="T73" fmla="*/ 225 h 538"/>
                <a:gd name="T74" fmla="*/ 344 w 567"/>
                <a:gd name="T75" fmla="*/ 211 h 538"/>
                <a:gd name="T76" fmla="*/ 224 w 567"/>
                <a:gd name="T77" fmla="*/ 211 h 538"/>
                <a:gd name="T78" fmla="*/ 206 w 567"/>
                <a:gd name="T79" fmla="*/ 225 h 538"/>
                <a:gd name="T80" fmla="*/ 188 w 567"/>
                <a:gd name="T81" fmla="*/ 289 h 538"/>
                <a:gd name="T82" fmla="*/ 194 w 567"/>
                <a:gd name="T83" fmla="*/ 295 h 538"/>
                <a:gd name="T84" fmla="*/ 198 w 567"/>
                <a:gd name="T85" fmla="*/ 315 h 538"/>
                <a:gd name="T86" fmla="*/ 269 w 567"/>
                <a:gd name="T87" fmla="*/ 379 h 538"/>
                <a:gd name="T88" fmla="*/ 284 w 567"/>
                <a:gd name="T89" fmla="*/ 375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7" h="538">
                  <a:moveTo>
                    <a:pt x="454" y="538"/>
                  </a:moveTo>
                  <a:lnTo>
                    <a:pt x="454" y="538"/>
                  </a:lnTo>
                  <a:lnTo>
                    <a:pt x="446" y="537"/>
                  </a:lnTo>
                  <a:lnTo>
                    <a:pt x="439" y="534"/>
                  </a:lnTo>
                  <a:lnTo>
                    <a:pt x="284" y="437"/>
                  </a:lnTo>
                  <a:lnTo>
                    <a:pt x="128" y="534"/>
                  </a:lnTo>
                  <a:lnTo>
                    <a:pt x="128" y="534"/>
                  </a:lnTo>
                  <a:lnTo>
                    <a:pt x="124" y="536"/>
                  </a:lnTo>
                  <a:lnTo>
                    <a:pt x="120" y="537"/>
                  </a:lnTo>
                  <a:lnTo>
                    <a:pt x="116" y="538"/>
                  </a:lnTo>
                  <a:lnTo>
                    <a:pt x="112" y="538"/>
                  </a:lnTo>
                  <a:lnTo>
                    <a:pt x="108" y="538"/>
                  </a:lnTo>
                  <a:lnTo>
                    <a:pt x="104" y="536"/>
                  </a:lnTo>
                  <a:lnTo>
                    <a:pt x="100" y="535"/>
                  </a:lnTo>
                  <a:lnTo>
                    <a:pt x="96" y="532"/>
                  </a:lnTo>
                  <a:lnTo>
                    <a:pt x="96" y="532"/>
                  </a:lnTo>
                  <a:lnTo>
                    <a:pt x="93" y="530"/>
                  </a:lnTo>
                  <a:lnTo>
                    <a:pt x="91" y="526"/>
                  </a:lnTo>
                  <a:lnTo>
                    <a:pt x="88" y="523"/>
                  </a:lnTo>
                  <a:lnTo>
                    <a:pt x="87" y="519"/>
                  </a:lnTo>
                  <a:lnTo>
                    <a:pt x="86" y="515"/>
                  </a:lnTo>
                  <a:lnTo>
                    <a:pt x="85" y="511"/>
                  </a:lnTo>
                  <a:lnTo>
                    <a:pt x="86" y="505"/>
                  </a:lnTo>
                  <a:lnTo>
                    <a:pt x="86" y="501"/>
                  </a:lnTo>
                  <a:lnTo>
                    <a:pt x="138" y="322"/>
                  </a:lnTo>
                  <a:lnTo>
                    <a:pt x="11" y="220"/>
                  </a:lnTo>
                  <a:lnTo>
                    <a:pt x="11" y="220"/>
                  </a:lnTo>
                  <a:lnTo>
                    <a:pt x="7" y="217"/>
                  </a:lnTo>
                  <a:lnTo>
                    <a:pt x="5" y="214"/>
                  </a:lnTo>
                  <a:lnTo>
                    <a:pt x="3" y="210"/>
                  </a:lnTo>
                  <a:lnTo>
                    <a:pt x="1" y="206"/>
                  </a:lnTo>
                  <a:lnTo>
                    <a:pt x="0" y="201"/>
                  </a:lnTo>
                  <a:lnTo>
                    <a:pt x="0" y="197"/>
                  </a:lnTo>
                  <a:lnTo>
                    <a:pt x="1" y="192"/>
                  </a:lnTo>
                  <a:lnTo>
                    <a:pt x="2" y="188"/>
                  </a:lnTo>
                  <a:lnTo>
                    <a:pt x="2" y="188"/>
                  </a:lnTo>
                  <a:lnTo>
                    <a:pt x="3" y="184"/>
                  </a:lnTo>
                  <a:lnTo>
                    <a:pt x="6" y="180"/>
                  </a:lnTo>
                  <a:lnTo>
                    <a:pt x="9" y="177"/>
                  </a:lnTo>
                  <a:lnTo>
                    <a:pt x="12" y="174"/>
                  </a:lnTo>
                  <a:lnTo>
                    <a:pt x="16" y="172"/>
                  </a:lnTo>
                  <a:lnTo>
                    <a:pt x="20" y="171"/>
                  </a:lnTo>
                  <a:lnTo>
                    <a:pt x="24" y="170"/>
                  </a:lnTo>
                  <a:lnTo>
                    <a:pt x="28" y="169"/>
                  </a:lnTo>
                  <a:lnTo>
                    <a:pt x="181" y="169"/>
                  </a:lnTo>
                  <a:lnTo>
                    <a:pt x="259" y="15"/>
                  </a:lnTo>
                  <a:lnTo>
                    <a:pt x="259" y="15"/>
                  </a:lnTo>
                  <a:lnTo>
                    <a:pt x="261" y="12"/>
                  </a:lnTo>
                  <a:lnTo>
                    <a:pt x="263" y="9"/>
                  </a:lnTo>
                  <a:lnTo>
                    <a:pt x="269" y="5"/>
                  </a:lnTo>
                  <a:lnTo>
                    <a:pt x="276" y="1"/>
                  </a:lnTo>
                  <a:lnTo>
                    <a:pt x="284" y="0"/>
                  </a:lnTo>
                  <a:lnTo>
                    <a:pt x="291" y="1"/>
                  </a:lnTo>
                  <a:lnTo>
                    <a:pt x="298" y="5"/>
                  </a:lnTo>
                  <a:lnTo>
                    <a:pt x="304" y="9"/>
                  </a:lnTo>
                  <a:lnTo>
                    <a:pt x="307" y="12"/>
                  </a:lnTo>
                  <a:lnTo>
                    <a:pt x="309" y="15"/>
                  </a:lnTo>
                  <a:lnTo>
                    <a:pt x="386" y="169"/>
                  </a:lnTo>
                  <a:lnTo>
                    <a:pt x="539" y="169"/>
                  </a:lnTo>
                  <a:lnTo>
                    <a:pt x="539" y="169"/>
                  </a:lnTo>
                  <a:lnTo>
                    <a:pt x="544" y="170"/>
                  </a:lnTo>
                  <a:lnTo>
                    <a:pt x="548" y="171"/>
                  </a:lnTo>
                  <a:lnTo>
                    <a:pt x="552" y="172"/>
                  </a:lnTo>
                  <a:lnTo>
                    <a:pt x="555" y="174"/>
                  </a:lnTo>
                  <a:lnTo>
                    <a:pt x="559" y="177"/>
                  </a:lnTo>
                  <a:lnTo>
                    <a:pt x="562" y="180"/>
                  </a:lnTo>
                  <a:lnTo>
                    <a:pt x="564" y="184"/>
                  </a:lnTo>
                  <a:lnTo>
                    <a:pt x="566" y="188"/>
                  </a:lnTo>
                  <a:lnTo>
                    <a:pt x="566" y="188"/>
                  </a:lnTo>
                  <a:lnTo>
                    <a:pt x="567" y="192"/>
                  </a:lnTo>
                  <a:lnTo>
                    <a:pt x="567" y="197"/>
                  </a:lnTo>
                  <a:lnTo>
                    <a:pt x="567" y="201"/>
                  </a:lnTo>
                  <a:lnTo>
                    <a:pt x="566" y="206"/>
                  </a:lnTo>
                  <a:lnTo>
                    <a:pt x="565" y="210"/>
                  </a:lnTo>
                  <a:lnTo>
                    <a:pt x="563" y="214"/>
                  </a:lnTo>
                  <a:lnTo>
                    <a:pt x="560" y="217"/>
                  </a:lnTo>
                  <a:lnTo>
                    <a:pt x="557" y="220"/>
                  </a:lnTo>
                  <a:lnTo>
                    <a:pt x="429" y="322"/>
                  </a:lnTo>
                  <a:lnTo>
                    <a:pt x="481" y="501"/>
                  </a:lnTo>
                  <a:lnTo>
                    <a:pt x="481" y="501"/>
                  </a:lnTo>
                  <a:lnTo>
                    <a:pt x="482" y="505"/>
                  </a:lnTo>
                  <a:lnTo>
                    <a:pt x="482" y="511"/>
                  </a:lnTo>
                  <a:lnTo>
                    <a:pt x="482" y="515"/>
                  </a:lnTo>
                  <a:lnTo>
                    <a:pt x="481" y="519"/>
                  </a:lnTo>
                  <a:lnTo>
                    <a:pt x="479" y="523"/>
                  </a:lnTo>
                  <a:lnTo>
                    <a:pt x="477" y="526"/>
                  </a:lnTo>
                  <a:lnTo>
                    <a:pt x="474" y="530"/>
                  </a:lnTo>
                  <a:lnTo>
                    <a:pt x="471" y="532"/>
                  </a:lnTo>
                  <a:lnTo>
                    <a:pt x="471" y="532"/>
                  </a:lnTo>
                  <a:lnTo>
                    <a:pt x="467" y="535"/>
                  </a:lnTo>
                  <a:lnTo>
                    <a:pt x="463" y="537"/>
                  </a:lnTo>
                  <a:lnTo>
                    <a:pt x="459" y="538"/>
                  </a:lnTo>
                  <a:lnTo>
                    <a:pt x="454" y="538"/>
                  </a:lnTo>
                  <a:lnTo>
                    <a:pt x="454" y="538"/>
                  </a:lnTo>
                  <a:close/>
                  <a:moveTo>
                    <a:pt x="284" y="375"/>
                  </a:moveTo>
                  <a:lnTo>
                    <a:pt x="284" y="375"/>
                  </a:lnTo>
                  <a:lnTo>
                    <a:pt x="291" y="376"/>
                  </a:lnTo>
                  <a:lnTo>
                    <a:pt x="299" y="379"/>
                  </a:lnTo>
                  <a:lnTo>
                    <a:pt x="406" y="446"/>
                  </a:lnTo>
                  <a:lnTo>
                    <a:pt x="370" y="319"/>
                  </a:lnTo>
                  <a:lnTo>
                    <a:pt x="370" y="319"/>
                  </a:lnTo>
                  <a:lnTo>
                    <a:pt x="369" y="315"/>
                  </a:lnTo>
                  <a:lnTo>
                    <a:pt x="369" y="311"/>
                  </a:lnTo>
                  <a:lnTo>
                    <a:pt x="370" y="302"/>
                  </a:lnTo>
                  <a:lnTo>
                    <a:pt x="374" y="295"/>
                  </a:lnTo>
                  <a:lnTo>
                    <a:pt x="376" y="291"/>
                  </a:lnTo>
                  <a:lnTo>
                    <a:pt x="379" y="289"/>
                  </a:lnTo>
                  <a:lnTo>
                    <a:pt x="458" y="226"/>
                  </a:lnTo>
                  <a:lnTo>
                    <a:pt x="369" y="226"/>
                  </a:lnTo>
                  <a:lnTo>
                    <a:pt x="369" y="226"/>
                  </a:lnTo>
                  <a:lnTo>
                    <a:pt x="361" y="225"/>
                  </a:lnTo>
                  <a:lnTo>
                    <a:pt x="354" y="222"/>
                  </a:lnTo>
                  <a:lnTo>
                    <a:pt x="348" y="217"/>
                  </a:lnTo>
                  <a:lnTo>
                    <a:pt x="344" y="211"/>
                  </a:lnTo>
                  <a:lnTo>
                    <a:pt x="284" y="91"/>
                  </a:lnTo>
                  <a:lnTo>
                    <a:pt x="224" y="211"/>
                  </a:lnTo>
                  <a:lnTo>
                    <a:pt x="224" y="211"/>
                  </a:lnTo>
                  <a:lnTo>
                    <a:pt x="219" y="217"/>
                  </a:lnTo>
                  <a:lnTo>
                    <a:pt x="213" y="222"/>
                  </a:lnTo>
                  <a:lnTo>
                    <a:pt x="206" y="225"/>
                  </a:lnTo>
                  <a:lnTo>
                    <a:pt x="199" y="226"/>
                  </a:lnTo>
                  <a:lnTo>
                    <a:pt x="109" y="226"/>
                  </a:lnTo>
                  <a:lnTo>
                    <a:pt x="188" y="289"/>
                  </a:lnTo>
                  <a:lnTo>
                    <a:pt x="188" y="289"/>
                  </a:lnTo>
                  <a:lnTo>
                    <a:pt x="191" y="291"/>
                  </a:lnTo>
                  <a:lnTo>
                    <a:pt x="194" y="295"/>
                  </a:lnTo>
                  <a:lnTo>
                    <a:pt x="197" y="302"/>
                  </a:lnTo>
                  <a:lnTo>
                    <a:pt x="199" y="311"/>
                  </a:lnTo>
                  <a:lnTo>
                    <a:pt x="198" y="315"/>
                  </a:lnTo>
                  <a:lnTo>
                    <a:pt x="197" y="319"/>
                  </a:lnTo>
                  <a:lnTo>
                    <a:pt x="161" y="446"/>
                  </a:lnTo>
                  <a:lnTo>
                    <a:pt x="269" y="379"/>
                  </a:lnTo>
                  <a:lnTo>
                    <a:pt x="269" y="379"/>
                  </a:lnTo>
                  <a:lnTo>
                    <a:pt x="276" y="376"/>
                  </a:lnTo>
                  <a:lnTo>
                    <a:pt x="284" y="375"/>
                  </a:lnTo>
                  <a:lnTo>
                    <a:pt x="284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B5FB053-389A-5B4F-3A84-FA0160D5A14E}"/>
              </a:ext>
            </a:extLst>
          </p:cNvPr>
          <p:cNvGrpSpPr/>
          <p:nvPr/>
        </p:nvGrpSpPr>
        <p:grpSpPr>
          <a:xfrm>
            <a:off x="6327334" y="1824779"/>
            <a:ext cx="550730" cy="510920"/>
            <a:chOff x="862812" y="2125006"/>
            <a:chExt cx="550730" cy="51092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5D608B2-B54B-9A90-E659-C999FB1B255F}"/>
                </a:ext>
              </a:extLst>
            </p:cNvPr>
            <p:cNvSpPr/>
            <p:nvPr/>
          </p:nvSpPr>
          <p:spPr>
            <a:xfrm flipH="1">
              <a:off x="862812" y="2125006"/>
              <a:ext cx="550730" cy="510920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rtl="1">
                <a:defRPr/>
              </a:pPr>
              <a:endPara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44">
              <a:extLst>
                <a:ext uri="{FF2B5EF4-FFF2-40B4-BE49-F238E27FC236}">
                  <a16:creationId xmlns:a16="http://schemas.microsoft.com/office/drawing/2014/main" id="{146BA95B-BBA9-CED2-8EEA-89EA8F71CF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819" y="2355131"/>
              <a:ext cx="113971" cy="113971"/>
            </a:xfrm>
            <a:custGeom>
              <a:avLst/>
              <a:gdLst>
                <a:gd name="T0" fmla="*/ 133 w 670"/>
                <a:gd name="T1" fmla="*/ 669 h 669"/>
                <a:gd name="T2" fmla="*/ 133 w 670"/>
                <a:gd name="T3" fmla="*/ 669 h 669"/>
                <a:gd name="T4" fmla="*/ 106 w 670"/>
                <a:gd name="T5" fmla="*/ 667 h 669"/>
                <a:gd name="T6" fmla="*/ 82 w 670"/>
                <a:gd name="T7" fmla="*/ 659 h 669"/>
                <a:gd name="T8" fmla="*/ 59 w 670"/>
                <a:gd name="T9" fmla="*/ 648 h 669"/>
                <a:gd name="T10" fmla="*/ 38 w 670"/>
                <a:gd name="T11" fmla="*/ 630 h 669"/>
                <a:gd name="T12" fmla="*/ 30 w 670"/>
                <a:gd name="T13" fmla="*/ 621 h 669"/>
                <a:gd name="T14" fmla="*/ 16 w 670"/>
                <a:gd name="T15" fmla="*/ 599 h 669"/>
                <a:gd name="T16" fmla="*/ 5 w 670"/>
                <a:gd name="T17" fmla="*/ 575 h 669"/>
                <a:gd name="T18" fmla="*/ 1 w 670"/>
                <a:gd name="T19" fmla="*/ 550 h 669"/>
                <a:gd name="T20" fmla="*/ 0 w 670"/>
                <a:gd name="T21" fmla="*/ 537 h 669"/>
                <a:gd name="T22" fmla="*/ 2 w 670"/>
                <a:gd name="T23" fmla="*/ 511 h 669"/>
                <a:gd name="T24" fmla="*/ 11 w 670"/>
                <a:gd name="T25" fmla="*/ 486 h 669"/>
                <a:gd name="T26" fmla="*/ 22 w 670"/>
                <a:gd name="T27" fmla="*/ 463 h 669"/>
                <a:gd name="T28" fmla="*/ 38 w 670"/>
                <a:gd name="T29" fmla="*/ 444 h 669"/>
                <a:gd name="T30" fmla="*/ 473 w 670"/>
                <a:gd name="T31" fmla="*/ 9 h 669"/>
                <a:gd name="T32" fmla="*/ 485 w 670"/>
                <a:gd name="T33" fmla="*/ 2 h 669"/>
                <a:gd name="T34" fmla="*/ 497 w 670"/>
                <a:gd name="T35" fmla="*/ 0 h 669"/>
                <a:gd name="T36" fmla="*/ 509 w 670"/>
                <a:gd name="T37" fmla="*/ 2 h 669"/>
                <a:gd name="T38" fmla="*/ 520 w 670"/>
                <a:gd name="T39" fmla="*/ 9 h 669"/>
                <a:gd name="T40" fmla="*/ 660 w 670"/>
                <a:gd name="T41" fmla="*/ 149 h 669"/>
                <a:gd name="T42" fmla="*/ 668 w 670"/>
                <a:gd name="T43" fmla="*/ 160 h 669"/>
                <a:gd name="T44" fmla="*/ 670 w 670"/>
                <a:gd name="T45" fmla="*/ 173 h 669"/>
                <a:gd name="T46" fmla="*/ 668 w 670"/>
                <a:gd name="T47" fmla="*/ 185 h 669"/>
                <a:gd name="T48" fmla="*/ 660 w 670"/>
                <a:gd name="T49" fmla="*/ 197 h 669"/>
                <a:gd name="T50" fmla="*/ 226 w 670"/>
                <a:gd name="T51" fmla="*/ 630 h 669"/>
                <a:gd name="T52" fmla="*/ 206 w 670"/>
                <a:gd name="T53" fmla="*/ 648 h 669"/>
                <a:gd name="T54" fmla="*/ 183 w 670"/>
                <a:gd name="T55" fmla="*/ 659 h 669"/>
                <a:gd name="T56" fmla="*/ 159 w 670"/>
                <a:gd name="T57" fmla="*/ 667 h 669"/>
                <a:gd name="T58" fmla="*/ 133 w 670"/>
                <a:gd name="T59" fmla="*/ 669 h 669"/>
                <a:gd name="T60" fmla="*/ 497 w 670"/>
                <a:gd name="T61" fmla="*/ 80 h 669"/>
                <a:gd name="T62" fmla="*/ 86 w 670"/>
                <a:gd name="T63" fmla="*/ 490 h 669"/>
                <a:gd name="T64" fmla="*/ 78 w 670"/>
                <a:gd name="T65" fmla="*/ 501 h 669"/>
                <a:gd name="T66" fmla="*/ 72 w 670"/>
                <a:gd name="T67" fmla="*/ 512 h 669"/>
                <a:gd name="T68" fmla="*/ 67 w 670"/>
                <a:gd name="T69" fmla="*/ 524 h 669"/>
                <a:gd name="T70" fmla="*/ 66 w 670"/>
                <a:gd name="T71" fmla="*/ 537 h 669"/>
                <a:gd name="T72" fmla="*/ 66 w 670"/>
                <a:gd name="T73" fmla="*/ 544 h 669"/>
                <a:gd name="T74" fmla="*/ 70 w 670"/>
                <a:gd name="T75" fmla="*/ 557 h 669"/>
                <a:gd name="T76" fmla="*/ 74 w 670"/>
                <a:gd name="T77" fmla="*/ 568 h 669"/>
                <a:gd name="T78" fmla="*/ 81 w 670"/>
                <a:gd name="T79" fmla="*/ 579 h 669"/>
                <a:gd name="T80" fmla="*/ 85 w 670"/>
                <a:gd name="T81" fmla="*/ 583 h 669"/>
                <a:gd name="T82" fmla="*/ 95 w 670"/>
                <a:gd name="T83" fmla="*/ 592 h 669"/>
                <a:gd name="T84" fmla="*/ 107 w 670"/>
                <a:gd name="T85" fmla="*/ 598 h 669"/>
                <a:gd name="T86" fmla="*/ 119 w 670"/>
                <a:gd name="T87" fmla="*/ 602 h 669"/>
                <a:gd name="T88" fmla="*/ 133 w 670"/>
                <a:gd name="T89" fmla="*/ 603 h 669"/>
                <a:gd name="T90" fmla="*/ 133 w 670"/>
                <a:gd name="T91" fmla="*/ 603 h 669"/>
                <a:gd name="T92" fmla="*/ 139 w 670"/>
                <a:gd name="T93" fmla="*/ 603 h 669"/>
                <a:gd name="T94" fmla="*/ 151 w 670"/>
                <a:gd name="T95" fmla="*/ 600 h 669"/>
                <a:gd name="T96" fmla="*/ 164 w 670"/>
                <a:gd name="T97" fmla="*/ 596 h 669"/>
                <a:gd name="T98" fmla="*/ 174 w 670"/>
                <a:gd name="T99" fmla="*/ 589 h 669"/>
                <a:gd name="T100" fmla="*/ 179 w 670"/>
                <a:gd name="T101" fmla="*/ 583 h 669"/>
                <a:gd name="T102" fmla="*/ 590 w 670"/>
                <a:gd name="T103" fmla="*/ 173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0" h="669">
                  <a:moveTo>
                    <a:pt x="133" y="669"/>
                  </a:moveTo>
                  <a:lnTo>
                    <a:pt x="133" y="669"/>
                  </a:lnTo>
                  <a:lnTo>
                    <a:pt x="133" y="669"/>
                  </a:lnTo>
                  <a:lnTo>
                    <a:pt x="133" y="669"/>
                  </a:lnTo>
                  <a:lnTo>
                    <a:pt x="119" y="668"/>
                  </a:lnTo>
                  <a:lnTo>
                    <a:pt x="106" y="667"/>
                  </a:lnTo>
                  <a:lnTo>
                    <a:pt x="93" y="663"/>
                  </a:lnTo>
                  <a:lnTo>
                    <a:pt x="82" y="659"/>
                  </a:lnTo>
                  <a:lnTo>
                    <a:pt x="70" y="654"/>
                  </a:lnTo>
                  <a:lnTo>
                    <a:pt x="59" y="648"/>
                  </a:lnTo>
                  <a:lnTo>
                    <a:pt x="49" y="639"/>
                  </a:lnTo>
                  <a:lnTo>
                    <a:pt x="38" y="630"/>
                  </a:lnTo>
                  <a:lnTo>
                    <a:pt x="38" y="630"/>
                  </a:lnTo>
                  <a:lnTo>
                    <a:pt x="30" y="621"/>
                  </a:lnTo>
                  <a:lnTo>
                    <a:pt x="22" y="610"/>
                  </a:lnTo>
                  <a:lnTo>
                    <a:pt x="16" y="599"/>
                  </a:lnTo>
                  <a:lnTo>
                    <a:pt x="11" y="588"/>
                  </a:lnTo>
                  <a:lnTo>
                    <a:pt x="5" y="575"/>
                  </a:lnTo>
                  <a:lnTo>
                    <a:pt x="2" y="563"/>
                  </a:lnTo>
                  <a:lnTo>
                    <a:pt x="1" y="550"/>
                  </a:lnTo>
                  <a:lnTo>
                    <a:pt x="0" y="537"/>
                  </a:lnTo>
                  <a:lnTo>
                    <a:pt x="0" y="537"/>
                  </a:lnTo>
                  <a:lnTo>
                    <a:pt x="1" y="524"/>
                  </a:lnTo>
                  <a:lnTo>
                    <a:pt x="2" y="511"/>
                  </a:lnTo>
                  <a:lnTo>
                    <a:pt x="5" y="499"/>
                  </a:lnTo>
                  <a:lnTo>
                    <a:pt x="11" y="486"/>
                  </a:lnTo>
                  <a:lnTo>
                    <a:pt x="16" y="475"/>
                  </a:lnTo>
                  <a:lnTo>
                    <a:pt x="22" y="463"/>
                  </a:lnTo>
                  <a:lnTo>
                    <a:pt x="30" y="453"/>
                  </a:lnTo>
                  <a:lnTo>
                    <a:pt x="38" y="444"/>
                  </a:lnTo>
                  <a:lnTo>
                    <a:pt x="473" y="9"/>
                  </a:lnTo>
                  <a:lnTo>
                    <a:pt x="473" y="9"/>
                  </a:lnTo>
                  <a:lnTo>
                    <a:pt x="478" y="5"/>
                  </a:lnTo>
                  <a:lnTo>
                    <a:pt x="485" y="2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2"/>
                  </a:lnTo>
                  <a:lnTo>
                    <a:pt x="515" y="5"/>
                  </a:lnTo>
                  <a:lnTo>
                    <a:pt x="520" y="9"/>
                  </a:lnTo>
                  <a:lnTo>
                    <a:pt x="660" y="149"/>
                  </a:lnTo>
                  <a:lnTo>
                    <a:pt x="660" y="149"/>
                  </a:lnTo>
                  <a:lnTo>
                    <a:pt x="665" y="154"/>
                  </a:lnTo>
                  <a:lnTo>
                    <a:pt x="668" y="160"/>
                  </a:lnTo>
                  <a:lnTo>
                    <a:pt x="670" y="167"/>
                  </a:lnTo>
                  <a:lnTo>
                    <a:pt x="670" y="173"/>
                  </a:lnTo>
                  <a:lnTo>
                    <a:pt x="670" y="179"/>
                  </a:lnTo>
                  <a:lnTo>
                    <a:pt x="668" y="185"/>
                  </a:lnTo>
                  <a:lnTo>
                    <a:pt x="665" y="191"/>
                  </a:lnTo>
                  <a:lnTo>
                    <a:pt x="660" y="197"/>
                  </a:lnTo>
                  <a:lnTo>
                    <a:pt x="226" y="630"/>
                  </a:lnTo>
                  <a:lnTo>
                    <a:pt x="226" y="630"/>
                  </a:lnTo>
                  <a:lnTo>
                    <a:pt x="216" y="639"/>
                  </a:lnTo>
                  <a:lnTo>
                    <a:pt x="206" y="648"/>
                  </a:lnTo>
                  <a:lnTo>
                    <a:pt x="195" y="654"/>
                  </a:lnTo>
                  <a:lnTo>
                    <a:pt x="183" y="659"/>
                  </a:lnTo>
                  <a:lnTo>
                    <a:pt x="171" y="664"/>
                  </a:lnTo>
                  <a:lnTo>
                    <a:pt x="159" y="667"/>
                  </a:lnTo>
                  <a:lnTo>
                    <a:pt x="145" y="668"/>
                  </a:lnTo>
                  <a:lnTo>
                    <a:pt x="133" y="669"/>
                  </a:lnTo>
                  <a:lnTo>
                    <a:pt x="133" y="669"/>
                  </a:lnTo>
                  <a:close/>
                  <a:moveTo>
                    <a:pt x="497" y="80"/>
                  </a:moveTo>
                  <a:lnTo>
                    <a:pt x="86" y="490"/>
                  </a:lnTo>
                  <a:lnTo>
                    <a:pt x="86" y="490"/>
                  </a:lnTo>
                  <a:lnTo>
                    <a:pt x="81" y="496"/>
                  </a:lnTo>
                  <a:lnTo>
                    <a:pt x="78" y="501"/>
                  </a:lnTo>
                  <a:lnTo>
                    <a:pt x="74" y="506"/>
                  </a:lnTo>
                  <a:lnTo>
                    <a:pt x="72" y="512"/>
                  </a:lnTo>
                  <a:lnTo>
                    <a:pt x="70" y="518"/>
                  </a:lnTo>
                  <a:lnTo>
                    <a:pt x="67" y="524"/>
                  </a:lnTo>
                  <a:lnTo>
                    <a:pt x="66" y="531"/>
                  </a:lnTo>
                  <a:lnTo>
                    <a:pt x="66" y="537"/>
                  </a:lnTo>
                  <a:lnTo>
                    <a:pt x="66" y="537"/>
                  </a:lnTo>
                  <a:lnTo>
                    <a:pt x="66" y="544"/>
                  </a:lnTo>
                  <a:lnTo>
                    <a:pt x="67" y="550"/>
                  </a:lnTo>
                  <a:lnTo>
                    <a:pt x="70" y="557"/>
                  </a:lnTo>
                  <a:lnTo>
                    <a:pt x="72" y="563"/>
                  </a:lnTo>
                  <a:lnTo>
                    <a:pt x="74" y="568"/>
                  </a:lnTo>
                  <a:lnTo>
                    <a:pt x="77" y="574"/>
                  </a:lnTo>
                  <a:lnTo>
                    <a:pt x="81" y="579"/>
                  </a:lnTo>
                  <a:lnTo>
                    <a:pt x="85" y="583"/>
                  </a:lnTo>
                  <a:lnTo>
                    <a:pt x="85" y="583"/>
                  </a:lnTo>
                  <a:lnTo>
                    <a:pt x="90" y="589"/>
                  </a:lnTo>
                  <a:lnTo>
                    <a:pt x="95" y="592"/>
                  </a:lnTo>
                  <a:lnTo>
                    <a:pt x="102" y="596"/>
                  </a:lnTo>
                  <a:lnTo>
                    <a:pt x="107" y="598"/>
                  </a:lnTo>
                  <a:lnTo>
                    <a:pt x="113" y="600"/>
                  </a:lnTo>
                  <a:lnTo>
                    <a:pt x="119" y="602"/>
                  </a:lnTo>
                  <a:lnTo>
                    <a:pt x="125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3" y="603"/>
                  </a:lnTo>
                  <a:lnTo>
                    <a:pt x="139" y="603"/>
                  </a:lnTo>
                  <a:lnTo>
                    <a:pt x="145" y="602"/>
                  </a:lnTo>
                  <a:lnTo>
                    <a:pt x="151" y="600"/>
                  </a:lnTo>
                  <a:lnTo>
                    <a:pt x="157" y="598"/>
                  </a:lnTo>
                  <a:lnTo>
                    <a:pt x="164" y="596"/>
                  </a:lnTo>
                  <a:lnTo>
                    <a:pt x="169" y="592"/>
                  </a:lnTo>
                  <a:lnTo>
                    <a:pt x="174" y="589"/>
                  </a:lnTo>
                  <a:lnTo>
                    <a:pt x="179" y="583"/>
                  </a:lnTo>
                  <a:lnTo>
                    <a:pt x="179" y="583"/>
                  </a:lnTo>
                  <a:lnTo>
                    <a:pt x="179" y="583"/>
                  </a:lnTo>
                  <a:lnTo>
                    <a:pt x="590" y="173"/>
                  </a:lnTo>
                  <a:lnTo>
                    <a:pt x="497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45">
              <a:extLst>
                <a:ext uri="{FF2B5EF4-FFF2-40B4-BE49-F238E27FC236}">
                  <a16:creationId xmlns:a16="http://schemas.microsoft.com/office/drawing/2014/main" id="{588C3C06-8903-4DBB-F826-DAF19E751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7302" y="2343259"/>
              <a:ext cx="59360" cy="59360"/>
            </a:xfrm>
            <a:custGeom>
              <a:avLst/>
              <a:gdLst>
                <a:gd name="T0" fmla="*/ 314 w 347"/>
                <a:gd name="T1" fmla="*/ 346 h 346"/>
                <a:gd name="T2" fmla="*/ 314 w 347"/>
                <a:gd name="T3" fmla="*/ 346 h 346"/>
                <a:gd name="T4" fmla="*/ 308 w 347"/>
                <a:gd name="T5" fmla="*/ 345 h 346"/>
                <a:gd name="T6" fmla="*/ 302 w 347"/>
                <a:gd name="T7" fmla="*/ 343 h 346"/>
                <a:gd name="T8" fmla="*/ 296 w 347"/>
                <a:gd name="T9" fmla="*/ 340 h 346"/>
                <a:gd name="T10" fmla="*/ 290 w 347"/>
                <a:gd name="T11" fmla="*/ 336 h 346"/>
                <a:gd name="T12" fmla="*/ 11 w 347"/>
                <a:gd name="T13" fmla="*/ 56 h 346"/>
                <a:gd name="T14" fmla="*/ 11 w 347"/>
                <a:gd name="T15" fmla="*/ 56 h 346"/>
                <a:gd name="T16" fmla="*/ 6 w 347"/>
                <a:gd name="T17" fmla="*/ 51 h 346"/>
                <a:gd name="T18" fmla="*/ 4 w 347"/>
                <a:gd name="T19" fmla="*/ 45 h 346"/>
                <a:gd name="T20" fmla="*/ 1 w 347"/>
                <a:gd name="T21" fmla="*/ 39 h 346"/>
                <a:gd name="T22" fmla="*/ 0 w 347"/>
                <a:gd name="T23" fmla="*/ 33 h 346"/>
                <a:gd name="T24" fmla="*/ 1 w 347"/>
                <a:gd name="T25" fmla="*/ 27 h 346"/>
                <a:gd name="T26" fmla="*/ 4 w 347"/>
                <a:gd name="T27" fmla="*/ 21 h 346"/>
                <a:gd name="T28" fmla="*/ 6 w 347"/>
                <a:gd name="T29" fmla="*/ 14 h 346"/>
                <a:gd name="T30" fmla="*/ 11 w 347"/>
                <a:gd name="T31" fmla="*/ 9 h 346"/>
                <a:gd name="T32" fmla="*/ 11 w 347"/>
                <a:gd name="T33" fmla="*/ 9 h 346"/>
                <a:gd name="T34" fmla="*/ 16 w 347"/>
                <a:gd name="T35" fmla="*/ 5 h 346"/>
                <a:gd name="T36" fmla="*/ 21 w 347"/>
                <a:gd name="T37" fmla="*/ 2 h 346"/>
                <a:gd name="T38" fmla="*/ 27 w 347"/>
                <a:gd name="T39" fmla="*/ 0 h 346"/>
                <a:gd name="T40" fmla="*/ 34 w 347"/>
                <a:gd name="T41" fmla="*/ 0 h 346"/>
                <a:gd name="T42" fmla="*/ 40 w 347"/>
                <a:gd name="T43" fmla="*/ 0 h 346"/>
                <a:gd name="T44" fmla="*/ 46 w 347"/>
                <a:gd name="T45" fmla="*/ 2 h 346"/>
                <a:gd name="T46" fmla="*/ 52 w 347"/>
                <a:gd name="T47" fmla="*/ 5 h 346"/>
                <a:gd name="T48" fmla="*/ 57 w 347"/>
                <a:gd name="T49" fmla="*/ 9 h 346"/>
                <a:gd name="T50" fmla="*/ 338 w 347"/>
                <a:gd name="T51" fmla="*/ 289 h 346"/>
                <a:gd name="T52" fmla="*/ 338 w 347"/>
                <a:gd name="T53" fmla="*/ 289 h 346"/>
                <a:gd name="T54" fmla="*/ 342 w 347"/>
                <a:gd name="T55" fmla="*/ 295 h 346"/>
                <a:gd name="T56" fmla="*/ 345 w 347"/>
                <a:gd name="T57" fmla="*/ 301 h 346"/>
                <a:gd name="T58" fmla="*/ 346 w 347"/>
                <a:gd name="T59" fmla="*/ 307 h 346"/>
                <a:gd name="T60" fmla="*/ 347 w 347"/>
                <a:gd name="T61" fmla="*/ 313 h 346"/>
                <a:gd name="T62" fmla="*/ 346 w 347"/>
                <a:gd name="T63" fmla="*/ 319 h 346"/>
                <a:gd name="T64" fmla="*/ 345 w 347"/>
                <a:gd name="T65" fmla="*/ 326 h 346"/>
                <a:gd name="T66" fmla="*/ 342 w 347"/>
                <a:gd name="T67" fmla="*/ 331 h 346"/>
                <a:gd name="T68" fmla="*/ 338 w 347"/>
                <a:gd name="T69" fmla="*/ 336 h 346"/>
                <a:gd name="T70" fmla="*/ 338 w 347"/>
                <a:gd name="T71" fmla="*/ 336 h 346"/>
                <a:gd name="T72" fmla="*/ 333 w 347"/>
                <a:gd name="T73" fmla="*/ 340 h 346"/>
                <a:gd name="T74" fmla="*/ 326 w 347"/>
                <a:gd name="T75" fmla="*/ 343 h 346"/>
                <a:gd name="T76" fmla="*/ 320 w 347"/>
                <a:gd name="T77" fmla="*/ 345 h 346"/>
                <a:gd name="T78" fmla="*/ 314 w 347"/>
                <a:gd name="T79" fmla="*/ 346 h 346"/>
                <a:gd name="T80" fmla="*/ 314 w 347"/>
                <a:gd name="T8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7" h="346">
                  <a:moveTo>
                    <a:pt x="314" y="346"/>
                  </a:moveTo>
                  <a:lnTo>
                    <a:pt x="314" y="346"/>
                  </a:lnTo>
                  <a:lnTo>
                    <a:pt x="308" y="345"/>
                  </a:lnTo>
                  <a:lnTo>
                    <a:pt x="302" y="343"/>
                  </a:lnTo>
                  <a:lnTo>
                    <a:pt x="296" y="340"/>
                  </a:lnTo>
                  <a:lnTo>
                    <a:pt x="290" y="33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6" y="51"/>
                  </a:lnTo>
                  <a:lnTo>
                    <a:pt x="4" y="45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4" y="21"/>
                  </a:lnTo>
                  <a:lnTo>
                    <a:pt x="6" y="14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6" y="5"/>
                  </a:lnTo>
                  <a:lnTo>
                    <a:pt x="21" y="2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2"/>
                  </a:lnTo>
                  <a:lnTo>
                    <a:pt x="52" y="5"/>
                  </a:lnTo>
                  <a:lnTo>
                    <a:pt x="57" y="9"/>
                  </a:lnTo>
                  <a:lnTo>
                    <a:pt x="338" y="289"/>
                  </a:lnTo>
                  <a:lnTo>
                    <a:pt x="338" y="289"/>
                  </a:lnTo>
                  <a:lnTo>
                    <a:pt x="342" y="295"/>
                  </a:lnTo>
                  <a:lnTo>
                    <a:pt x="345" y="301"/>
                  </a:lnTo>
                  <a:lnTo>
                    <a:pt x="346" y="307"/>
                  </a:lnTo>
                  <a:lnTo>
                    <a:pt x="347" y="313"/>
                  </a:lnTo>
                  <a:lnTo>
                    <a:pt x="346" y="319"/>
                  </a:lnTo>
                  <a:lnTo>
                    <a:pt x="345" y="326"/>
                  </a:lnTo>
                  <a:lnTo>
                    <a:pt x="342" y="331"/>
                  </a:lnTo>
                  <a:lnTo>
                    <a:pt x="338" y="336"/>
                  </a:lnTo>
                  <a:lnTo>
                    <a:pt x="338" y="336"/>
                  </a:lnTo>
                  <a:lnTo>
                    <a:pt x="333" y="340"/>
                  </a:lnTo>
                  <a:lnTo>
                    <a:pt x="326" y="343"/>
                  </a:lnTo>
                  <a:lnTo>
                    <a:pt x="320" y="345"/>
                  </a:lnTo>
                  <a:lnTo>
                    <a:pt x="314" y="346"/>
                  </a:lnTo>
                  <a:lnTo>
                    <a:pt x="314" y="3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46">
              <a:extLst>
                <a:ext uri="{FF2B5EF4-FFF2-40B4-BE49-F238E27FC236}">
                  <a16:creationId xmlns:a16="http://schemas.microsoft.com/office/drawing/2014/main" id="{F5F58C90-AB2E-8A8A-D2E8-FBDE7048F1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233" y="2249472"/>
              <a:ext cx="128217" cy="127030"/>
            </a:xfrm>
            <a:custGeom>
              <a:avLst/>
              <a:gdLst>
                <a:gd name="T0" fmla="*/ 48 w 755"/>
                <a:gd name="T1" fmla="*/ 753 h 753"/>
                <a:gd name="T2" fmla="*/ 0 w 755"/>
                <a:gd name="T3" fmla="*/ 707 h 753"/>
                <a:gd name="T4" fmla="*/ 707 w 755"/>
                <a:gd name="T5" fmla="*/ 0 h 753"/>
                <a:gd name="T6" fmla="*/ 755 w 755"/>
                <a:gd name="T7" fmla="*/ 48 h 753"/>
                <a:gd name="T8" fmla="*/ 48 w 755"/>
                <a:gd name="T9" fmla="*/ 753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5" h="753">
                  <a:moveTo>
                    <a:pt x="48" y="753"/>
                  </a:moveTo>
                  <a:lnTo>
                    <a:pt x="0" y="707"/>
                  </a:lnTo>
                  <a:lnTo>
                    <a:pt x="707" y="0"/>
                  </a:lnTo>
                  <a:lnTo>
                    <a:pt x="755" y="48"/>
                  </a:lnTo>
                  <a:lnTo>
                    <a:pt x="48" y="7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47">
              <a:extLst>
                <a:ext uri="{FF2B5EF4-FFF2-40B4-BE49-F238E27FC236}">
                  <a16:creationId xmlns:a16="http://schemas.microsoft.com/office/drawing/2014/main" id="{EFC26152-1453-6E19-EA5C-E44CFEF65F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6706" y="2205545"/>
              <a:ext cx="67671" cy="66483"/>
            </a:xfrm>
            <a:custGeom>
              <a:avLst/>
              <a:gdLst>
                <a:gd name="T0" fmla="*/ 197 w 399"/>
                <a:gd name="T1" fmla="*/ 392 h 392"/>
                <a:gd name="T2" fmla="*/ 197 w 399"/>
                <a:gd name="T3" fmla="*/ 392 h 392"/>
                <a:gd name="T4" fmla="*/ 189 w 399"/>
                <a:gd name="T5" fmla="*/ 392 h 392"/>
                <a:gd name="T6" fmla="*/ 183 w 399"/>
                <a:gd name="T7" fmla="*/ 390 h 392"/>
                <a:gd name="T8" fmla="*/ 178 w 399"/>
                <a:gd name="T9" fmla="*/ 387 h 392"/>
                <a:gd name="T10" fmla="*/ 173 w 399"/>
                <a:gd name="T11" fmla="*/ 383 h 392"/>
                <a:gd name="T12" fmla="*/ 9 w 399"/>
                <a:gd name="T13" fmla="*/ 219 h 392"/>
                <a:gd name="T14" fmla="*/ 9 w 399"/>
                <a:gd name="T15" fmla="*/ 219 h 392"/>
                <a:gd name="T16" fmla="*/ 5 w 399"/>
                <a:gd name="T17" fmla="*/ 214 h 392"/>
                <a:gd name="T18" fmla="*/ 1 w 399"/>
                <a:gd name="T19" fmla="*/ 207 h 392"/>
                <a:gd name="T20" fmla="*/ 0 w 399"/>
                <a:gd name="T21" fmla="*/ 201 h 392"/>
                <a:gd name="T22" fmla="*/ 0 w 399"/>
                <a:gd name="T23" fmla="*/ 193 h 392"/>
                <a:gd name="T24" fmla="*/ 0 w 399"/>
                <a:gd name="T25" fmla="*/ 193 h 392"/>
                <a:gd name="T26" fmla="*/ 1 w 399"/>
                <a:gd name="T27" fmla="*/ 186 h 392"/>
                <a:gd name="T28" fmla="*/ 4 w 399"/>
                <a:gd name="T29" fmla="*/ 179 h 392"/>
                <a:gd name="T30" fmla="*/ 8 w 399"/>
                <a:gd name="T31" fmla="*/ 174 h 392"/>
                <a:gd name="T32" fmla="*/ 14 w 399"/>
                <a:gd name="T33" fmla="*/ 169 h 392"/>
                <a:gd name="T34" fmla="*/ 248 w 399"/>
                <a:gd name="T35" fmla="*/ 6 h 392"/>
                <a:gd name="T36" fmla="*/ 248 w 399"/>
                <a:gd name="T37" fmla="*/ 6 h 392"/>
                <a:gd name="T38" fmla="*/ 253 w 399"/>
                <a:gd name="T39" fmla="*/ 3 h 392"/>
                <a:gd name="T40" fmla="*/ 259 w 399"/>
                <a:gd name="T41" fmla="*/ 1 h 392"/>
                <a:gd name="T42" fmla="*/ 264 w 399"/>
                <a:gd name="T43" fmla="*/ 0 h 392"/>
                <a:gd name="T44" fmla="*/ 270 w 399"/>
                <a:gd name="T45" fmla="*/ 0 h 392"/>
                <a:gd name="T46" fmla="*/ 275 w 399"/>
                <a:gd name="T47" fmla="*/ 1 h 392"/>
                <a:gd name="T48" fmla="*/ 281 w 399"/>
                <a:gd name="T49" fmla="*/ 3 h 392"/>
                <a:gd name="T50" fmla="*/ 286 w 399"/>
                <a:gd name="T51" fmla="*/ 6 h 392"/>
                <a:gd name="T52" fmla="*/ 290 w 399"/>
                <a:gd name="T53" fmla="*/ 10 h 392"/>
                <a:gd name="T54" fmla="*/ 389 w 399"/>
                <a:gd name="T55" fmla="*/ 110 h 392"/>
                <a:gd name="T56" fmla="*/ 389 w 399"/>
                <a:gd name="T57" fmla="*/ 110 h 392"/>
                <a:gd name="T58" fmla="*/ 393 w 399"/>
                <a:gd name="T59" fmla="*/ 114 h 392"/>
                <a:gd name="T60" fmla="*/ 396 w 399"/>
                <a:gd name="T61" fmla="*/ 119 h 392"/>
                <a:gd name="T62" fmla="*/ 399 w 399"/>
                <a:gd name="T63" fmla="*/ 124 h 392"/>
                <a:gd name="T64" fmla="*/ 399 w 399"/>
                <a:gd name="T65" fmla="*/ 130 h 392"/>
                <a:gd name="T66" fmla="*/ 399 w 399"/>
                <a:gd name="T67" fmla="*/ 135 h 392"/>
                <a:gd name="T68" fmla="*/ 397 w 399"/>
                <a:gd name="T69" fmla="*/ 142 h 392"/>
                <a:gd name="T70" fmla="*/ 395 w 399"/>
                <a:gd name="T71" fmla="*/ 147 h 392"/>
                <a:gd name="T72" fmla="*/ 392 w 399"/>
                <a:gd name="T73" fmla="*/ 152 h 392"/>
                <a:gd name="T74" fmla="*/ 223 w 399"/>
                <a:gd name="T75" fmla="*/ 380 h 392"/>
                <a:gd name="T76" fmla="*/ 223 w 399"/>
                <a:gd name="T77" fmla="*/ 380 h 392"/>
                <a:gd name="T78" fmla="*/ 217 w 399"/>
                <a:gd name="T79" fmla="*/ 385 h 392"/>
                <a:gd name="T80" fmla="*/ 212 w 399"/>
                <a:gd name="T81" fmla="*/ 389 h 392"/>
                <a:gd name="T82" fmla="*/ 206 w 399"/>
                <a:gd name="T83" fmla="*/ 391 h 392"/>
                <a:gd name="T84" fmla="*/ 199 w 399"/>
                <a:gd name="T85" fmla="*/ 392 h 392"/>
                <a:gd name="T86" fmla="*/ 199 w 399"/>
                <a:gd name="T87" fmla="*/ 392 h 392"/>
                <a:gd name="T88" fmla="*/ 197 w 399"/>
                <a:gd name="T89" fmla="*/ 392 h 392"/>
                <a:gd name="T90" fmla="*/ 197 w 399"/>
                <a:gd name="T91" fmla="*/ 392 h 392"/>
                <a:gd name="T92" fmla="*/ 84 w 399"/>
                <a:gd name="T93" fmla="*/ 201 h 392"/>
                <a:gd name="T94" fmla="*/ 193 w 399"/>
                <a:gd name="T95" fmla="*/ 309 h 392"/>
                <a:gd name="T96" fmla="*/ 322 w 399"/>
                <a:gd name="T97" fmla="*/ 135 h 392"/>
                <a:gd name="T98" fmla="*/ 263 w 399"/>
                <a:gd name="T99" fmla="*/ 77 h 392"/>
                <a:gd name="T100" fmla="*/ 84 w 399"/>
                <a:gd name="T101" fmla="*/ 20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9" h="392">
                  <a:moveTo>
                    <a:pt x="197" y="392"/>
                  </a:moveTo>
                  <a:lnTo>
                    <a:pt x="197" y="392"/>
                  </a:lnTo>
                  <a:lnTo>
                    <a:pt x="189" y="392"/>
                  </a:lnTo>
                  <a:lnTo>
                    <a:pt x="183" y="390"/>
                  </a:lnTo>
                  <a:lnTo>
                    <a:pt x="178" y="387"/>
                  </a:lnTo>
                  <a:lnTo>
                    <a:pt x="173" y="383"/>
                  </a:lnTo>
                  <a:lnTo>
                    <a:pt x="9" y="219"/>
                  </a:lnTo>
                  <a:lnTo>
                    <a:pt x="9" y="219"/>
                  </a:lnTo>
                  <a:lnTo>
                    <a:pt x="5" y="214"/>
                  </a:lnTo>
                  <a:lnTo>
                    <a:pt x="1" y="207"/>
                  </a:lnTo>
                  <a:lnTo>
                    <a:pt x="0" y="201"/>
                  </a:lnTo>
                  <a:lnTo>
                    <a:pt x="0" y="193"/>
                  </a:lnTo>
                  <a:lnTo>
                    <a:pt x="0" y="193"/>
                  </a:lnTo>
                  <a:lnTo>
                    <a:pt x="1" y="186"/>
                  </a:lnTo>
                  <a:lnTo>
                    <a:pt x="4" y="179"/>
                  </a:lnTo>
                  <a:lnTo>
                    <a:pt x="8" y="174"/>
                  </a:lnTo>
                  <a:lnTo>
                    <a:pt x="14" y="169"/>
                  </a:lnTo>
                  <a:lnTo>
                    <a:pt x="248" y="6"/>
                  </a:lnTo>
                  <a:lnTo>
                    <a:pt x="248" y="6"/>
                  </a:lnTo>
                  <a:lnTo>
                    <a:pt x="253" y="3"/>
                  </a:lnTo>
                  <a:lnTo>
                    <a:pt x="259" y="1"/>
                  </a:lnTo>
                  <a:lnTo>
                    <a:pt x="264" y="0"/>
                  </a:lnTo>
                  <a:lnTo>
                    <a:pt x="270" y="0"/>
                  </a:lnTo>
                  <a:lnTo>
                    <a:pt x="275" y="1"/>
                  </a:lnTo>
                  <a:lnTo>
                    <a:pt x="281" y="3"/>
                  </a:lnTo>
                  <a:lnTo>
                    <a:pt x="286" y="6"/>
                  </a:lnTo>
                  <a:lnTo>
                    <a:pt x="290" y="10"/>
                  </a:lnTo>
                  <a:lnTo>
                    <a:pt x="389" y="110"/>
                  </a:lnTo>
                  <a:lnTo>
                    <a:pt x="389" y="110"/>
                  </a:lnTo>
                  <a:lnTo>
                    <a:pt x="393" y="114"/>
                  </a:lnTo>
                  <a:lnTo>
                    <a:pt x="396" y="119"/>
                  </a:lnTo>
                  <a:lnTo>
                    <a:pt x="399" y="124"/>
                  </a:lnTo>
                  <a:lnTo>
                    <a:pt x="399" y="130"/>
                  </a:lnTo>
                  <a:lnTo>
                    <a:pt x="399" y="135"/>
                  </a:lnTo>
                  <a:lnTo>
                    <a:pt x="397" y="142"/>
                  </a:lnTo>
                  <a:lnTo>
                    <a:pt x="395" y="147"/>
                  </a:lnTo>
                  <a:lnTo>
                    <a:pt x="392" y="152"/>
                  </a:lnTo>
                  <a:lnTo>
                    <a:pt x="223" y="380"/>
                  </a:lnTo>
                  <a:lnTo>
                    <a:pt x="223" y="380"/>
                  </a:lnTo>
                  <a:lnTo>
                    <a:pt x="217" y="385"/>
                  </a:lnTo>
                  <a:lnTo>
                    <a:pt x="212" y="389"/>
                  </a:lnTo>
                  <a:lnTo>
                    <a:pt x="206" y="391"/>
                  </a:lnTo>
                  <a:lnTo>
                    <a:pt x="199" y="392"/>
                  </a:lnTo>
                  <a:lnTo>
                    <a:pt x="199" y="392"/>
                  </a:lnTo>
                  <a:lnTo>
                    <a:pt x="197" y="392"/>
                  </a:lnTo>
                  <a:lnTo>
                    <a:pt x="197" y="392"/>
                  </a:lnTo>
                  <a:close/>
                  <a:moveTo>
                    <a:pt x="84" y="201"/>
                  </a:moveTo>
                  <a:lnTo>
                    <a:pt x="193" y="309"/>
                  </a:lnTo>
                  <a:lnTo>
                    <a:pt x="322" y="135"/>
                  </a:lnTo>
                  <a:lnTo>
                    <a:pt x="263" y="77"/>
                  </a:lnTo>
                  <a:lnTo>
                    <a:pt x="84" y="20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48">
              <a:extLst>
                <a:ext uri="{FF2B5EF4-FFF2-40B4-BE49-F238E27FC236}">
                  <a16:creationId xmlns:a16="http://schemas.microsoft.com/office/drawing/2014/main" id="{262F48AD-692A-DE6C-6CB4-B73A2717D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883" y="2205545"/>
              <a:ext cx="137715" cy="137714"/>
            </a:xfrm>
            <a:custGeom>
              <a:avLst/>
              <a:gdLst>
                <a:gd name="T0" fmla="*/ 372 w 811"/>
                <a:gd name="T1" fmla="*/ 586 h 812"/>
                <a:gd name="T2" fmla="*/ 290 w 811"/>
                <a:gd name="T3" fmla="*/ 596 h 812"/>
                <a:gd name="T4" fmla="*/ 210 w 811"/>
                <a:gd name="T5" fmla="*/ 583 h 812"/>
                <a:gd name="T6" fmla="*/ 136 w 811"/>
                <a:gd name="T7" fmla="*/ 549 h 812"/>
                <a:gd name="T8" fmla="*/ 87 w 811"/>
                <a:gd name="T9" fmla="*/ 510 h 812"/>
                <a:gd name="T10" fmla="*/ 34 w 811"/>
                <a:gd name="T11" fmla="*/ 438 h 812"/>
                <a:gd name="T12" fmla="*/ 5 w 811"/>
                <a:gd name="T13" fmla="*/ 358 h 812"/>
                <a:gd name="T14" fmla="*/ 1 w 811"/>
                <a:gd name="T15" fmla="*/ 272 h 812"/>
                <a:gd name="T16" fmla="*/ 23 w 811"/>
                <a:gd name="T17" fmla="*/ 186 h 812"/>
                <a:gd name="T18" fmla="*/ 39 w 811"/>
                <a:gd name="T19" fmla="*/ 170 h 812"/>
                <a:gd name="T20" fmla="*/ 62 w 811"/>
                <a:gd name="T21" fmla="*/ 168 h 812"/>
                <a:gd name="T22" fmla="*/ 290 w 811"/>
                <a:gd name="T23" fmla="*/ 293 h 812"/>
                <a:gd name="T24" fmla="*/ 170 w 811"/>
                <a:gd name="T25" fmla="*/ 69 h 812"/>
                <a:gd name="T26" fmla="*/ 167 w 811"/>
                <a:gd name="T27" fmla="*/ 47 h 812"/>
                <a:gd name="T28" fmla="*/ 186 w 811"/>
                <a:gd name="T29" fmla="*/ 24 h 812"/>
                <a:gd name="T30" fmla="*/ 249 w 811"/>
                <a:gd name="T31" fmla="*/ 4 h 812"/>
                <a:gd name="T32" fmla="*/ 335 w 811"/>
                <a:gd name="T33" fmla="*/ 2 h 812"/>
                <a:gd name="T34" fmla="*/ 417 w 811"/>
                <a:gd name="T35" fmla="*/ 25 h 812"/>
                <a:gd name="T36" fmla="*/ 491 w 811"/>
                <a:gd name="T37" fmla="*/ 71 h 812"/>
                <a:gd name="T38" fmla="*/ 535 w 811"/>
                <a:gd name="T39" fmla="*/ 119 h 812"/>
                <a:gd name="T40" fmla="*/ 575 w 811"/>
                <a:gd name="T41" fmla="*/ 190 h 812"/>
                <a:gd name="T42" fmla="*/ 594 w 811"/>
                <a:gd name="T43" fmla="*/ 270 h 812"/>
                <a:gd name="T44" fmla="*/ 590 w 811"/>
                <a:gd name="T45" fmla="*/ 352 h 812"/>
                <a:gd name="T46" fmla="*/ 765 w 811"/>
                <a:gd name="T47" fmla="*/ 671 h 812"/>
                <a:gd name="T48" fmla="*/ 511 w 811"/>
                <a:gd name="T49" fmla="*/ 416 h 812"/>
                <a:gd name="T50" fmla="*/ 508 w 811"/>
                <a:gd name="T51" fmla="*/ 397 h 812"/>
                <a:gd name="T52" fmla="*/ 516 w 811"/>
                <a:gd name="T53" fmla="*/ 371 h 812"/>
                <a:gd name="T54" fmla="*/ 529 w 811"/>
                <a:gd name="T55" fmla="*/ 303 h 812"/>
                <a:gd name="T56" fmla="*/ 521 w 811"/>
                <a:gd name="T57" fmla="*/ 237 h 812"/>
                <a:gd name="T58" fmla="*/ 494 w 811"/>
                <a:gd name="T59" fmla="*/ 175 h 812"/>
                <a:gd name="T60" fmla="*/ 461 w 811"/>
                <a:gd name="T61" fmla="*/ 133 h 812"/>
                <a:gd name="T62" fmla="*/ 416 w 811"/>
                <a:gd name="T63" fmla="*/ 98 h 812"/>
                <a:gd name="T64" fmla="*/ 365 w 811"/>
                <a:gd name="T65" fmla="*/ 76 h 812"/>
                <a:gd name="T66" fmla="*/ 313 w 811"/>
                <a:gd name="T67" fmla="*/ 66 h 812"/>
                <a:gd name="T68" fmla="*/ 258 w 811"/>
                <a:gd name="T69" fmla="*/ 70 h 812"/>
                <a:gd name="T70" fmla="*/ 353 w 811"/>
                <a:gd name="T71" fmla="*/ 182 h 812"/>
                <a:gd name="T72" fmla="*/ 356 w 811"/>
                <a:gd name="T73" fmla="*/ 326 h 812"/>
                <a:gd name="T74" fmla="*/ 346 w 811"/>
                <a:gd name="T75" fmla="*/ 349 h 812"/>
                <a:gd name="T76" fmla="*/ 323 w 811"/>
                <a:gd name="T77" fmla="*/ 359 h 812"/>
                <a:gd name="T78" fmla="*/ 178 w 811"/>
                <a:gd name="T79" fmla="*/ 356 h 812"/>
                <a:gd name="T80" fmla="*/ 70 w 811"/>
                <a:gd name="T81" fmla="*/ 259 h 812"/>
                <a:gd name="T82" fmla="*/ 66 w 811"/>
                <a:gd name="T83" fmla="*/ 314 h 812"/>
                <a:gd name="T84" fmla="*/ 76 w 811"/>
                <a:gd name="T85" fmla="*/ 368 h 812"/>
                <a:gd name="T86" fmla="*/ 98 w 811"/>
                <a:gd name="T87" fmla="*/ 419 h 812"/>
                <a:gd name="T88" fmla="*/ 133 w 811"/>
                <a:gd name="T89" fmla="*/ 463 h 812"/>
                <a:gd name="T90" fmla="*/ 174 w 811"/>
                <a:gd name="T91" fmla="*/ 495 h 812"/>
                <a:gd name="T92" fmla="*/ 236 w 811"/>
                <a:gd name="T93" fmla="*/ 522 h 812"/>
                <a:gd name="T94" fmla="*/ 303 w 811"/>
                <a:gd name="T95" fmla="*/ 529 h 812"/>
                <a:gd name="T96" fmla="*/ 370 w 811"/>
                <a:gd name="T97" fmla="*/ 517 h 812"/>
                <a:gd name="T98" fmla="*/ 397 w 811"/>
                <a:gd name="T99" fmla="*/ 509 h 812"/>
                <a:gd name="T100" fmla="*/ 416 w 811"/>
                <a:gd name="T101" fmla="*/ 512 h 812"/>
                <a:gd name="T102" fmla="*/ 625 w 811"/>
                <a:gd name="T103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1" h="812">
                  <a:moveTo>
                    <a:pt x="625" y="812"/>
                  </a:moveTo>
                  <a:lnTo>
                    <a:pt x="392" y="580"/>
                  </a:lnTo>
                  <a:lnTo>
                    <a:pt x="392" y="580"/>
                  </a:lnTo>
                  <a:lnTo>
                    <a:pt x="372" y="586"/>
                  </a:lnTo>
                  <a:lnTo>
                    <a:pt x="352" y="591"/>
                  </a:lnTo>
                  <a:lnTo>
                    <a:pt x="331" y="594"/>
                  </a:lnTo>
                  <a:lnTo>
                    <a:pt x="310" y="596"/>
                  </a:lnTo>
                  <a:lnTo>
                    <a:pt x="290" y="596"/>
                  </a:lnTo>
                  <a:lnTo>
                    <a:pt x="269" y="595"/>
                  </a:lnTo>
                  <a:lnTo>
                    <a:pt x="249" y="593"/>
                  </a:lnTo>
                  <a:lnTo>
                    <a:pt x="230" y="588"/>
                  </a:lnTo>
                  <a:lnTo>
                    <a:pt x="210" y="583"/>
                  </a:lnTo>
                  <a:lnTo>
                    <a:pt x="190" y="577"/>
                  </a:lnTo>
                  <a:lnTo>
                    <a:pt x="172" y="569"/>
                  </a:lnTo>
                  <a:lnTo>
                    <a:pt x="153" y="559"/>
                  </a:lnTo>
                  <a:lnTo>
                    <a:pt x="136" y="549"/>
                  </a:lnTo>
                  <a:lnTo>
                    <a:pt x="118" y="538"/>
                  </a:lnTo>
                  <a:lnTo>
                    <a:pt x="102" y="524"/>
                  </a:lnTo>
                  <a:lnTo>
                    <a:pt x="87" y="510"/>
                  </a:lnTo>
                  <a:lnTo>
                    <a:pt x="87" y="510"/>
                  </a:lnTo>
                  <a:lnTo>
                    <a:pt x="71" y="493"/>
                  </a:lnTo>
                  <a:lnTo>
                    <a:pt x="58" y="476"/>
                  </a:lnTo>
                  <a:lnTo>
                    <a:pt x="46" y="458"/>
                  </a:lnTo>
                  <a:lnTo>
                    <a:pt x="34" y="438"/>
                  </a:lnTo>
                  <a:lnTo>
                    <a:pt x="25" y="419"/>
                  </a:lnTo>
                  <a:lnTo>
                    <a:pt x="17" y="399"/>
                  </a:lnTo>
                  <a:lnTo>
                    <a:pt x="10" y="379"/>
                  </a:lnTo>
                  <a:lnTo>
                    <a:pt x="5" y="358"/>
                  </a:lnTo>
                  <a:lnTo>
                    <a:pt x="2" y="336"/>
                  </a:lnTo>
                  <a:lnTo>
                    <a:pt x="0" y="314"/>
                  </a:lnTo>
                  <a:lnTo>
                    <a:pt x="0" y="293"/>
                  </a:lnTo>
                  <a:lnTo>
                    <a:pt x="1" y="272"/>
                  </a:lnTo>
                  <a:lnTo>
                    <a:pt x="4" y="250"/>
                  </a:lnTo>
                  <a:lnTo>
                    <a:pt x="9" y="229"/>
                  </a:lnTo>
                  <a:lnTo>
                    <a:pt x="16" y="207"/>
                  </a:lnTo>
                  <a:lnTo>
                    <a:pt x="23" y="186"/>
                  </a:lnTo>
                  <a:lnTo>
                    <a:pt x="23" y="186"/>
                  </a:lnTo>
                  <a:lnTo>
                    <a:pt x="27" y="179"/>
                  </a:lnTo>
                  <a:lnTo>
                    <a:pt x="33" y="174"/>
                  </a:lnTo>
                  <a:lnTo>
                    <a:pt x="39" y="170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55" y="165"/>
                  </a:lnTo>
                  <a:lnTo>
                    <a:pt x="62" y="168"/>
                  </a:lnTo>
                  <a:lnTo>
                    <a:pt x="69" y="170"/>
                  </a:lnTo>
                  <a:lnTo>
                    <a:pt x="77" y="175"/>
                  </a:lnTo>
                  <a:lnTo>
                    <a:pt x="203" y="293"/>
                  </a:lnTo>
                  <a:lnTo>
                    <a:pt x="290" y="293"/>
                  </a:lnTo>
                  <a:lnTo>
                    <a:pt x="290" y="206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0" y="69"/>
                  </a:lnTo>
                  <a:lnTo>
                    <a:pt x="167" y="62"/>
                  </a:lnTo>
                  <a:lnTo>
                    <a:pt x="166" y="55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70" y="39"/>
                  </a:lnTo>
                  <a:lnTo>
                    <a:pt x="174" y="33"/>
                  </a:lnTo>
                  <a:lnTo>
                    <a:pt x="179" y="27"/>
                  </a:lnTo>
                  <a:lnTo>
                    <a:pt x="186" y="24"/>
                  </a:lnTo>
                  <a:lnTo>
                    <a:pt x="186" y="24"/>
                  </a:lnTo>
                  <a:lnTo>
                    <a:pt x="207" y="16"/>
                  </a:lnTo>
                  <a:lnTo>
                    <a:pt x="229" y="9"/>
                  </a:lnTo>
                  <a:lnTo>
                    <a:pt x="249" y="4"/>
                  </a:lnTo>
                  <a:lnTo>
                    <a:pt x="271" y="1"/>
                  </a:lnTo>
                  <a:lnTo>
                    <a:pt x="293" y="0"/>
                  </a:lnTo>
                  <a:lnTo>
                    <a:pt x="314" y="0"/>
                  </a:lnTo>
                  <a:lnTo>
                    <a:pt x="335" y="2"/>
                  </a:lnTo>
                  <a:lnTo>
                    <a:pt x="356" y="5"/>
                  </a:lnTo>
                  <a:lnTo>
                    <a:pt x="377" y="10"/>
                  </a:lnTo>
                  <a:lnTo>
                    <a:pt x="397" y="17"/>
                  </a:lnTo>
                  <a:lnTo>
                    <a:pt x="417" y="25"/>
                  </a:lnTo>
                  <a:lnTo>
                    <a:pt x="437" y="34"/>
                  </a:lnTo>
                  <a:lnTo>
                    <a:pt x="455" y="45"/>
                  </a:lnTo>
                  <a:lnTo>
                    <a:pt x="474" y="58"/>
                  </a:lnTo>
                  <a:lnTo>
                    <a:pt x="491" y="71"/>
                  </a:lnTo>
                  <a:lnTo>
                    <a:pt x="507" y="87"/>
                  </a:lnTo>
                  <a:lnTo>
                    <a:pt x="507" y="87"/>
                  </a:lnTo>
                  <a:lnTo>
                    <a:pt x="522" y="102"/>
                  </a:lnTo>
                  <a:lnTo>
                    <a:pt x="535" y="119"/>
                  </a:lnTo>
                  <a:lnTo>
                    <a:pt x="547" y="136"/>
                  </a:lnTo>
                  <a:lnTo>
                    <a:pt x="558" y="153"/>
                  </a:lnTo>
                  <a:lnTo>
                    <a:pt x="567" y="172"/>
                  </a:lnTo>
                  <a:lnTo>
                    <a:pt x="575" y="190"/>
                  </a:lnTo>
                  <a:lnTo>
                    <a:pt x="582" y="210"/>
                  </a:lnTo>
                  <a:lnTo>
                    <a:pt x="587" y="230"/>
                  </a:lnTo>
                  <a:lnTo>
                    <a:pt x="591" y="249"/>
                  </a:lnTo>
                  <a:lnTo>
                    <a:pt x="594" y="270"/>
                  </a:lnTo>
                  <a:lnTo>
                    <a:pt x="595" y="291"/>
                  </a:lnTo>
                  <a:lnTo>
                    <a:pt x="594" y="310"/>
                  </a:lnTo>
                  <a:lnTo>
                    <a:pt x="593" y="331"/>
                  </a:lnTo>
                  <a:lnTo>
                    <a:pt x="590" y="352"/>
                  </a:lnTo>
                  <a:lnTo>
                    <a:pt x="585" y="372"/>
                  </a:lnTo>
                  <a:lnTo>
                    <a:pt x="580" y="392"/>
                  </a:lnTo>
                  <a:lnTo>
                    <a:pt x="811" y="625"/>
                  </a:lnTo>
                  <a:lnTo>
                    <a:pt x="765" y="671"/>
                  </a:lnTo>
                  <a:lnTo>
                    <a:pt x="517" y="424"/>
                  </a:lnTo>
                  <a:lnTo>
                    <a:pt x="517" y="424"/>
                  </a:lnTo>
                  <a:lnTo>
                    <a:pt x="514" y="420"/>
                  </a:lnTo>
                  <a:lnTo>
                    <a:pt x="511" y="416"/>
                  </a:lnTo>
                  <a:lnTo>
                    <a:pt x="509" y="412"/>
                  </a:lnTo>
                  <a:lnTo>
                    <a:pt x="508" y="406"/>
                  </a:lnTo>
                  <a:lnTo>
                    <a:pt x="507" y="402"/>
                  </a:lnTo>
                  <a:lnTo>
                    <a:pt x="508" y="397"/>
                  </a:lnTo>
                  <a:lnTo>
                    <a:pt x="508" y="392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6" y="371"/>
                  </a:lnTo>
                  <a:lnTo>
                    <a:pt x="522" y="355"/>
                  </a:lnTo>
                  <a:lnTo>
                    <a:pt x="525" y="337"/>
                  </a:lnTo>
                  <a:lnTo>
                    <a:pt x="528" y="321"/>
                  </a:lnTo>
                  <a:lnTo>
                    <a:pt x="529" y="303"/>
                  </a:lnTo>
                  <a:lnTo>
                    <a:pt x="529" y="286"/>
                  </a:lnTo>
                  <a:lnTo>
                    <a:pt x="527" y="270"/>
                  </a:lnTo>
                  <a:lnTo>
                    <a:pt x="525" y="253"/>
                  </a:lnTo>
                  <a:lnTo>
                    <a:pt x="521" y="237"/>
                  </a:lnTo>
                  <a:lnTo>
                    <a:pt x="515" y="220"/>
                  </a:lnTo>
                  <a:lnTo>
                    <a:pt x="509" y="205"/>
                  </a:lnTo>
                  <a:lnTo>
                    <a:pt x="502" y="189"/>
                  </a:lnTo>
                  <a:lnTo>
                    <a:pt x="494" y="175"/>
                  </a:lnTo>
                  <a:lnTo>
                    <a:pt x="483" y="160"/>
                  </a:lnTo>
                  <a:lnTo>
                    <a:pt x="473" y="147"/>
                  </a:lnTo>
                  <a:lnTo>
                    <a:pt x="461" y="133"/>
                  </a:lnTo>
                  <a:lnTo>
                    <a:pt x="461" y="133"/>
                  </a:lnTo>
                  <a:lnTo>
                    <a:pt x="450" y="124"/>
                  </a:lnTo>
                  <a:lnTo>
                    <a:pt x="439" y="115"/>
                  </a:lnTo>
                  <a:lnTo>
                    <a:pt x="427" y="107"/>
                  </a:lnTo>
                  <a:lnTo>
                    <a:pt x="416" y="98"/>
                  </a:lnTo>
                  <a:lnTo>
                    <a:pt x="404" y="91"/>
                  </a:lnTo>
                  <a:lnTo>
                    <a:pt x="391" y="86"/>
                  </a:lnTo>
                  <a:lnTo>
                    <a:pt x="379" y="81"/>
                  </a:lnTo>
                  <a:lnTo>
                    <a:pt x="365" y="76"/>
                  </a:lnTo>
                  <a:lnTo>
                    <a:pt x="353" y="72"/>
                  </a:lnTo>
                  <a:lnTo>
                    <a:pt x="339" y="69"/>
                  </a:lnTo>
                  <a:lnTo>
                    <a:pt x="326" y="67"/>
                  </a:lnTo>
                  <a:lnTo>
                    <a:pt x="313" y="66"/>
                  </a:lnTo>
                  <a:lnTo>
                    <a:pt x="299" y="66"/>
                  </a:lnTo>
                  <a:lnTo>
                    <a:pt x="285" y="66"/>
                  </a:lnTo>
                  <a:lnTo>
                    <a:pt x="271" y="68"/>
                  </a:lnTo>
                  <a:lnTo>
                    <a:pt x="258" y="70"/>
                  </a:lnTo>
                  <a:lnTo>
                    <a:pt x="347" y="172"/>
                  </a:lnTo>
                  <a:lnTo>
                    <a:pt x="347" y="172"/>
                  </a:lnTo>
                  <a:lnTo>
                    <a:pt x="351" y="176"/>
                  </a:lnTo>
                  <a:lnTo>
                    <a:pt x="353" y="182"/>
                  </a:lnTo>
                  <a:lnTo>
                    <a:pt x="355" y="187"/>
                  </a:lnTo>
                  <a:lnTo>
                    <a:pt x="356" y="193"/>
                  </a:lnTo>
                  <a:lnTo>
                    <a:pt x="356" y="326"/>
                  </a:lnTo>
                  <a:lnTo>
                    <a:pt x="356" y="326"/>
                  </a:lnTo>
                  <a:lnTo>
                    <a:pt x="355" y="332"/>
                  </a:lnTo>
                  <a:lnTo>
                    <a:pt x="353" y="338"/>
                  </a:lnTo>
                  <a:lnTo>
                    <a:pt x="350" y="344"/>
                  </a:lnTo>
                  <a:lnTo>
                    <a:pt x="346" y="349"/>
                  </a:lnTo>
                  <a:lnTo>
                    <a:pt x="340" y="353"/>
                  </a:lnTo>
                  <a:lnTo>
                    <a:pt x="335" y="356"/>
                  </a:lnTo>
                  <a:lnTo>
                    <a:pt x="329" y="358"/>
                  </a:lnTo>
                  <a:lnTo>
                    <a:pt x="323" y="359"/>
                  </a:lnTo>
                  <a:lnTo>
                    <a:pt x="190" y="359"/>
                  </a:lnTo>
                  <a:lnTo>
                    <a:pt x="190" y="359"/>
                  </a:lnTo>
                  <a:lnTo>
                    <a:pt x="184" y="358"/>
                  </a:lnTo>
                  <a:lnTo>
                    <a:pt x="178" y="356"/>
                  </a:lnTo>
                  <a:lnTo>
                    <a:pt x="173" y="354"/>
                  </a:lnTo>
                  <a:lnTo>
                    <a:pt x="168" y="35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7" y="273"/>
                  </a:lnTo>
                  <a:lnTo>
                    <a:pt x="66" y="286"/>
                  </a:lnTo>
                  <a:lnTo>
                    <a:pt x="66" y="300"/>
                  </a:lnTo>
                  <a:lnTo>
                    <a:pt x="66" y="314"/>
                  </a:lnTo>
                  <a:lnTo>
                    <a:pt x="67" y="328"/>
                  </a:lnTo>
                  <a:lnTo>
                    <a:pt x="69" y="341"/>
                  </a:lnTo>
                  <a:lnTo>
                    <a:pt x="72" y="355"/>
                  </a:lnTo>
                  <a:lnTo>
                    <a:pt x="76" y="368"/>
                  </a:lnTo>
                  <a:lnTo>
                    <a:pt x="81" y="382"/>
                  </a:lnTo>
                  <a:lnTo>
                    <a:pt x="86" y="394"/>
                  </a:lnTo>
                  <a:lnTo>
                    <a:pt x="92" y="406"/>
                  </a:lnTo>
                  <a:lnTo>
                    <a:pt x="98" y="419"/>
                  </a:lnTo>
                  <a:lnTo>
                    <a:pt x="107" y="430"/>
                  </a:lnTo>
                  <a:lnTo>
                    <a:pt x="115" y="442"/>
                  </a:lnTo>
                  <a:lnTo>
                    <a:pt x="123" y="453"/>
                  </a:lnTo>
                  <a:lnTo>
                    <a:pt x="133" y="463"/>
                  </a:lnTo>
                  <a:lnTo>
                    <a:pt x="133" y="463"/>
                  </a:lnTo>
                  <a:lnTo>
                    <a:pt x="146" y="475"/>
                  </a:lnTo>
                  <a:lnTo>
                    <a:pt x="159" y="486"/>
                  </a:lnTo>
                  <a:lnTo>
                    <a:pt x="174" y="495"/>
                  </a:lnTo>
                  <a:lnTo>
                    <a:pt x="188" y="504"/>
                  </a:lnTo>
                  <a:lnTo>
                    <a:pt x="204" y="511"/>
                  </a:lnTo>
                  <a:lnTo>
                    <a:pt x="219" y="517"/>
                  </a:lnTo>
                  <a:lnTo>
                    <a:pt x="236" y="522"/>
                  </a:lnTo>
                  <a:lnTo>
                    <a:pt x="253" y="526"/>
                  </a:lnTo>
                  <a:lnTo>
                    <a:pt x="269" y="528"/>
                  </a:lnTo>
                  <a:lnTo>
                    <a:pt x="286" y="529"/>
                  </a:lnTo>
                  <a:lnTo>
                    <a:pt x="303" y="529"/>
                  </a:lnTo>
                  <a:lnTo>
                    <a:pt x="320" y="528"/>
                  </a:lnTo>
                  <a:lnTo>
                    <a:pt x="337" y="526"/>
                  </a:lnTo>
                  <a:lnTo>
                    <a:pt x="354" y="522"/>
                  </a:lnTo>
                  <a:lnTo>
                    <a:pt x="370" y="517"/>
                  </a:lnTo>
                  <a:lnTo>
                    <a:pt x="387" y="511"/>
                  </a:lnTo>
                  <a:lnTo>
                    <a:pt x="387" y="511"/>
                  </a:lnTo>
                  <a:lnTo>
                    <a:pt x="392" y="510"/>
                  </a:lnTo>
                  <a:lnTo>
                    <a:pt x="397" y="509"/>
                  </a:lnTo>
                  <a:lnTo>
                    <a:pt x="402" y="509"/>
                  </a:lnTo>
                  <a:lnTo>
                    <a:pt x="407" y="509"/>
                  </a:lnTo>
                  <a:lnTo>
                    <a:pt x="411" y="511"/>
                  </a:lnTo>
                  <a:lnTo>
                    <a:pt x="416" y="512"/>
                  </a:lnTo>
                  <a:lnTo>
                    <a:pt x="420" y="515"/>
                  </a:lnTo>
                  <a:lnTo>
                    <a:pt x="423" y="518"/>
                  </a:lnTo>
                  <a:lnTo>
                    <a:pt x="672" y="765"/>
                  </a:lnTo>
                  <a:lnTo>
                    <a:pt x="625" y="8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49">
              <a:extLst>
                <a:ext uri="{FF2B5EF4-FFF2-40B4-BE49-F238E27FC236}">
                  <a16:creationId xmlns:a16="http://schemas.microsoft.com/office/drawing/2014/main" id="{3B9646D6-E859-4819-5063-7F80007B5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288" y="2334950"/>
              <a:ext cx="137715" cy="137714"/>
            </a:xfrm>
            <a:custGeom>
              <a:avLst/>
              <a:gdLst>
                <a:gd name="T0" fmla="*/ 485 w 812"/>
                <a:gd name="T1" fmla="*/ 811 h 812"/>
                <a:gd name="T2" fmla="*/ 428 w 812"/>
                <a:gd name="T3" fmla="*/ 800 h 812"/>
                <a:gd name="T4" fmla="*/ 375 w 812"/>
                <a:gd name="T5" fmla="*/ 778 h 812"/>
                <a:gd name="T6" fmla="*/ 327 w 812"/>
                <a:gd name="T7" fmla="*/ 745 h 812"/>
                <a:gd name="T8" fmla="*/ 290 w 812"/>
                <a:gd name="T9" fmla="*/ 710 h 812"/>
                <a:gd name="T10" fmla="*/ 244 w 812"/>
                <a:gd name="T11" fmla="*/ 640 h 812"/>
                <a:gd name="T12" fmla="*/ 220 w 812"/>
                <a:gd name="T13" fmla="*/ 563 h 812"/>
                <a:gd name="T14" fmla="*/ 219 w 812"/>
                <a:gd name="T15" fmla="*/ 481 h 812"/>
                <a:gd name="T16" fmla="*/ 0 w 812"/>
                <a:gd name="T17" fmla="*/ 187 h 812"/>
                <a:gd name="T18" fmla="*/ 298 w 812"/>
                <a:gd name="T19" fmla="*/ 392 h 812"/>
                <a:gd name="T20" fmla="*/ 304 w 812"/>
                <a:gd name="T21" fmla="*/ 410 h 812"/>
                <a:gd name="T22" fmla="*/ 302 w 812"/>
                <a:gd name="T23" fmla="*/ 424 h 812"/>
                <a:gd name="T24" fmla="*/ 284 w 812"/>
                <a:gd name="T25" fmla="*/ 491 h 812"/>
                <a:gd name="T26" fmla="*/ 287 w 812"/>
                <a:gd name="T27" fmla="*/ 559 h 812"/>
                <a:gd name="T28" fmla="*/ 309 w 812"/>
                <a:gd name="T29" fmla="*/ 623 h 812"/>
                <a:gd name="T30" fmla="*/ 351 w 812"/>
                <a:gd name="T31" fmla="*/ 679 h 812"/>
                <a:gd name="T32" fmla="*/ 384 w 812"/>
                <a:gd name="T33" fmla="*/ 706 h 812"/>
                <a:gd name="T34" fmla="*/ 433 w 812"/>
                <a:gd name="T35" fmla="*/ 731 h 812"/>
                <a:gd name="T36" fmla="*/ 487 w 812"/>
                <a:gd name="T37" fmla="*/ 745 h 812"/>
                <a:gd name="T38" fmla="*/ 543 w 812"/>
                <a:gd name="T39" fmla="*/ 745 h 812"/>
                <a:gd name="T40" fmla="*/ 455 w 812"/>
                <a:gd name="T41" fmla="*/ 636 h 812"/>
                <a:gd name="T42" fmla="*/ 450 w 812"/>
                <a:gd name="T43" fmla="*/ 486 h 812"/>
                <a:gd name="T44" fmla="*/ 456 w 812"/>
                <a:gd name="T45" fmla="*/ 468 h 812"/>
                <a:gd name="T46" fmla="*/ 477 w 812"/>
                <a:gd name="T47" fmla="*/ 454 h 812"/>
                <a:gd name="T48" fmla="*/ 622 w 812"/>
                <a:gd name="T49" fmla="*/ 454 h 812"/>
                <a:gd name="T50" fmla="*/ 742 w 812"/>
                <a:gd name="T51" fmla="*/ 558 h 812"/>
                <a:gd name="T52" fmla="*/ 746 w 812"/>
                <a:gd name="T53" fmla="*/ 516 h 812"/>
                <a:gd name="T54" fmla="*/ 740 w 812"/>
                <a:gd name="T55" fmla="*/ 460 h 812"/>
                <a:gd name="T56" fmla="*/ 720 w 812"/>
                <a:gd name="T57" fmla="*/ 409 h 812"/>
                <a:gd name="T58" fmla="*/ 688 w 812"/>
                <a:gd name="T59" fmla="*/ 362 h 812"/>
                <a:gd name="T60" fmla="*/ 652 w 812"/>
                <a:gd name="T61" fmla="*/ 328 h 812"/>
                <a:gd name="T62" fmla="*/ 592 w 812"/>
                <a:gd name="T63" fmla="*/ 297 h 812"/>
                <a:gd name="T64" fmla="*/ 525 w 812"/>
                <a:gd name="T65" fmla="*/ 284 h 812"/>
                <a:gd name="T66" fmla="*/ 457 w 812"/>
                <a:gd name="T67" fmla="*/ 291 h 812"/>
                <a:gd name="T68" fmla="*/ 420 w 812"/>
                <a:gd name="T69" fmla="*/ 303 h 812"/>
                <a:gd name="T70" fmla="*/ 400 w 812"/>
                <a:gd name="T71" fmla="*/ 303 h 812"/>
                <a:gd name="T72" fmla="*/ 141 w 812"/>
                <a:gd name="T73" fmla="*/ 48 h 812"/>
                <a:gd name="T74" fmla="*/ 440 w 812"/>
                <a:gd name="T75" fmla="*/ 227 h 812"/>
                <a:gd name="T76" fmla="*/ 521 w 812"/>
                <a:gd name="T77" fmla="*/ 217 h 812"/>
                <a:gd name="T78" fmla="*/ 602 w 812"/>
                <a:gd name="T79" fmla="*/ 231 h 812"/>
                <a:gd name="T80" fmla="*/ 676 w 812"/>
                <a:gd name="T81" fmla="*/ 265 h 812"/>
                <a:gd name="T82" fmla="*/ 725 w 812"/>
                <a:gd name="T83" fmla="*/ 304 h 812"/>
                <a:gd name="T84" fmla="*/ 778 w 812"/>
                <a:gd name="T85" fmla="*/ 376 h 812"/>
                <a:gd name="T86" fmla="*/ 807 w 812"/>
                <a:gd name="T87" fmla="*/ 458 h 812"/>
                <a:gd name="T88" fmla="*/ 811 w 812"/>
                <a:gd name="T89" fmla="*/ 544 h 812"/>
                <a:gd name="T90" fmla="*/ 788 w 812"/>
                <a:gd name="T91" fmla="*/ 631 h 812"/>
                <a:gd name="T92" fmla="*/ 773 w 812"/>
                <a:gd name="T93" fmla="*/ 648 h 812"/>
                <a:gd name="T94" fmla="*/ 749 w 812"/>
                <a:gd name="T95" fmla="*/ 650 h 812"/>
                <a:gd name="T96" fmla="*/ 516 w 812"/>
                <a:gd name="T97" fmla="*/ 519 h 812"/>
                <a:gd name="T98" fmla="*/ 647 w 812"/>
                <a:gd name="T99" fmla="*/ 742 h 812"/>
                <a:gd name="T100" fmla="*/ 650 w 812"/>
                <a:gd name="T101" fmla="*/ 764 h 812"/>
                <a:gd name="T102" fmla="*/ 631 w 812"/>
                <a:gd name="T103" fmla="*/ 788 h 812"/>
                <a:gd name="T104" fmla="*/ 588 w 812"/>
                <a:gd name="T105" fmla="*/ 803 h 812"/>
                <a:gd name="T106" fmla="*/ 529 w 812"/>
                <a:gd name="T107" fmla="*/ 81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12" h="812">
                  <a:moveTo>
                    <a:pt x="514" y="812"/>
                  </a:moveTo>
                  <a:lnTo>
                    <a:pt x="514" y="812"/>
                  </a:lnTo>
                  <a:lnTo>
                    <a:pt x="500" y="812"/>
                  </a:lnTo>
                  <a:lnTo>
                    <a:pt x="485" y="811"/>
                  </a:lnTo>
                  <a:lnTo>
                    <a:pt x="471" y="809"/>
                  </a:lnTo>
                  <a:lnTo>
                    <a:pt x="456" y="807"/>
                  </a:lnTo>
                  <a:lnTo>
                    <a:pt x="443" y="804"/>
                  </a:lnTo>
                  <a:lnTo>
                    <a:pt x="428" y="800"/>
                  </a:lnTo>
                  <a:lnTo>
                    <a:pt x="415" y="795"/>
                  </a:lnTo>
                  <a:lnTo>
                    <a:pt x="401" y="790"/>
                  </a:lnTo>
                  <a:lnTo>
                    <a:pt x="388" y="784"/>
                  </a:lnTo>
                  <a:lnTo>
                    <a:pt x="375" y="778"/>
                  </a:lnTo>
                  <a:lnTo>
                    <a:pt x="363" y="771"/>
                  </a:lnTo>
                  <a:lnTo>
                    <a:pt x="351" y="762"/>
                  </a:lnTo>
                  <a:lnTo>
                    <a:pt x="338" y="754"/>
                  </a:lnTo>
                  <a:lnTo>
                    <a:pt x="327" y="745"/>
                  </a:lnTo>
                  <a:lnTo>
                    <a:pt x="315" y="735"/>
                  </a:lnTo>
                  <a:lnTo>
                    <a:pt x="304" y="725"/>
                  </a:lnTo>
                  <a:lnTo>
                    <a:pt x="304" y="725"/>
                  </a:lnTo>
                  <a:lnTo>
                    <a:pt x="290" y="710"/>
                  </a:lnTo>
                  <a:lnTo>
                    <a:pt x="276" y="693"/>
                  </a:lnTo>
                  <a:lnTo>
                    <a:pt x="265" y="677"/>
                  </a:lnTo>
                  <a:lnTo>
                    <a:pt x="253" y="658"/>
                  </a:lnTo>
                  <a:lnTo>
                    <a:pt x="244" y="640"/>
                  </a:lnTo>
                  <a:lnTo>
                    <a:pt x="237" y="622"/>
                  </a:lnTo>
                  <a:lnTo>
                    <a:pt x="230" y="602"/>
                  </a:lnTo>
                  <a:lnTo>
                    <a:pt x="224" y="582"/>
                  </a:lnTo>
                  <a:lnTo>
                    <a:pt x="220" y="563"/>
                  </a:lnTo>
                  <a:lnTo>
                    <a:pt x="218" y="542"/>
                  </a:lnTo>
                  <a:lnTo>
                    <a:pt x="217" y="521"/>
                  </a:lnTo>
                  <a:lnTo>
                    <a:pt x="217" y="502"/>
                  </a:lnTo>
                  <a:lnTo>
                    <a:pt x="219" y="481"/>
                  </a:lnTo>
                  <a:lnTo>
                    <a:pt x="222" y="460"/>
                  </a:lnTo>
                  <a:lnTo>
                    <a:pt x="226" y="440"/>
                  </a:lnTo>
                  <a:lnTo>
                    <a:pt x="233" y="420"/>
                  </a:lnTo>
                  <a:lnTo>
                    <a:pt x="0" y="187"/>
                  </a:lnTo>
                  <a:lnTo>
                    <a:pt x="46" y="141"/>
                  </a:lnTo>
                  <a:lnTo>
                    <a:pt x="295" y="388"/>
                  </a:lnTo>
                  <a:lnTo>
                    <a:pt x="295" y="388"/>
                  </a:lnTo>
                  <a:lnTo>
                    <a:pt x="298" y="392"/>
                  </a:lnTo>
                  <a:lnTo>
                    <a:pt x="300" y="396"/>
                  </a:lnTo>
                  <a:lnTo>
                    <a:pt x="302" y="400"/>
                  </a:lnTo>
                  <a:lnTo>
                    <a:pt x="303" y="406"/>
                  </a:lnTo>
                  <a:lnTo>
                    <a:pt x="304" y="410"/>
                  </a:lnTo>
                  <a:lnTo>
                    <a:pt x="304" y="415"/>
                  </a:lnTo>
                  <a:lnTo>
                    <a:pt x="303" y="420"/>
                  </a:lnTo>
                  <a:lnTo>
                    <a:pt x="302" y="424"/>
                  </a:lnTo>
                  <a:lnTo>
                    <a:pt x="302" y="424"/>
                  </a:lnTo>
                  <a:lnTo>
                    <a:pt x="295" y="441"/>
                  </a:lnTo>
                  <a:lnTo>
                    <a:pt x="291" y="458"/>
                  </a:lnTo>
                  <a:lnTo>
                    <a:pt x="286" y="475"/>
                  </a:lnTo>
                  <a:lnTo>
                    <a:pt x="284" y="491"/>
                  </a:lnTo>
                  <a:lnTo>
                    <a:pt x="283" y="509"/>
                  </a:lnTo>
                  <a:lnTo>
                    <a:pt x="283" y="526"/>
                  </a:lnTo>
                  <a:lnTo>
                    <a:pt x="284" y="542"/>
                  </a:lnTo>
                  <a:lnTo>
                    <a:pt x="287" y="559"/>
                  </a:lnTo>
                  <a:lnTo>
                    <a:pt x="291" y="575"/>
                  </a:lnTo>
                  <a:lnTo>
                    <a:pt x="296" y="592"/>
                  </a:lnTo>
                  <a:lnTo>
                    <a:pt x="302" y="607"/>
                  </a:lnTo>
                  <a:lnTo>
                    <a:pt x="309" y="623"/>
                  </a:lnTo>
                  <a:lnTo>
                    <a:pt x="319" y="637"/>
                  </a:lnTo>
                  <a:lnTo>
                    <a:pt x="328" y="652"/>
                  </a:lnTo>
                  <a:lnTo>
                    <a:pt x="339" y="665"/>
                  </a:lnTo>
                  <a:lnTo>
                    <a:pt x="351" y="679"/>
                  </a:lnTo>
                  <a:lnTo>
                    <a:pt x="351" y="679"/>
                  </a:lnTo>
                  <a:lnTo>
                    <a:pt x="361" y="688"/>
                  </a:lnTo>
                  <a:lnTo>
                    <a:pt x="372" y="697"/>
                  </a:lnTo>
                  <a:lnTo>
                    <a:pt x="384" y="706"/>
                  </a:lnTo>
                  <a:lnTo>
                    <a:pt x="396" y="714"/>
                  </a:lnTo>
                  <a:lnTo>
                    <a:pt x="408" y="720"/>
                  </a:lnTo>
                  <a:lnTo>
                    <a:pt x="421" y="726"/>
                  </a:lnTo>
                  <a:lnTo>
                    <a:pt x="433" y="731"/>
                  </a:lnTo>
                  <a:lnTo>
                    <a:pt x="447" y="737"/>
                  </a:lnTo>
                  <a:lnTo>
                    <a:pt x="460" y="740"/>
                  </a:lnTo>
                  <a:lnTo>
                    <a:pt x="474" y="743"/>
                  </a:lnTo>
                  <a:lnTo>
                    <a:pt x="487" y="745"/>
                  </a:lnTo>
                  <a:lnTo>
                    <a:pt x="501" y="746"/>
                  </a:lnTo>
                  <a:lnTo>
                    <a:pt x="515" y="746"/>
                  </a:lnTo>
                  <a:lnTo>
                    <a:pt x="529" y="746"/>
                  </a:lnTo>
                  <a:lnTo>
                    <a:pt x="543" y="745"/>
                  </a:lnTo>
                  <a:lnTo>
                    <a:pt x="557" y="743"/>
                  </a:lnTo>
                  <a:lnTo>
                    <a:pt x="459" y="641"/>
                  </a:lnTo>
                  <a:lnTo>
                    <a:pt x="459" y="641"/>
                  </a:lnTo>
                  <a:lnTo>
                    <a:pt x="455" y="636"/>
                  </a:lnTo>
                  <a:lnTo>
                    <a:pt x="453" y="631"/>
                  </a:lnTo>
                  <a:lnTo>
                    <a:pt x="451" y="625"/>
                  </a:lnTo>
                  <a:lnTo>
                    <a:pt x="450" y="619"/>
                  </a:lnTo>
                  <a:lnTo>
                    <a:pt x="450" y="486"/>
                  </a:lnTo>
                  <a:lnTo>
                    <a:pt x="450" y="486"/>
                  </a:lnTo>
                  <a:lnTo>
                    <a:pt x="451" y="480"/>
                  </a:lnTo>
                  <a:lnTo>
                    <a:pt x="453" y="474"/>
                  </a:lnTo>
                  <a:lnTo>
                    <a:pt x="456" y="468"/>
                  </a:lnTo>
                  <a:lnTo>
                    <a:pt x="460" y="464"/>
                  </a:lnTo>
                  <a:lnTo>
                    <a:pt x="464" y="459"/>
                  </a:lnTo>
                  <a:lnTo>
                    <a:pt x="471" y="456"/>
                  </a:lnTo>
                  <a:lnTo>
                    <a:pt x="477" y="454"/>
                  </a:lnTo>
                  <a:lnTo>
                    <a:pt x="483" y="453"/>
                  </a:lnTo>
                  <a:lnTo>
                    <a:pt x="616" y="453"/>
                  </a:lnTo>
                  <a:lnTo>
                    <a:pt x="616" y="453"/>
                  </a:lnTo>
                  <a:lnTo>
                    <a:pt x="622" y="454"/>
                  </a:lnTo>
                  <a:lnTo>
                    <a:pt x="628" y="455"/>
                  </a:lnTo>
                  <a:lnTo>
                    <a:pt x="633" y="458"/>
                  </a:lnTo>
                  <a:lnTo>
                    <a:pt x="638" y="462"/>
                  </a:lnTo>
                  <a:lnTo>
                    <a:pt x="742" y="558"/>
                  </a:lnTo>
                  <a:lnTo>
                    <a:pt x="742" y="558"/>
                  </a:lnTo>
                  <a:lnTo>
                    <a:pt x="744" y="544"/>
                  </a:lnTo>
                  <a:lnTo>
                    <a:pt x="746" y="530"/>
                  </a:lnTo>
                  <a:lnTo>
                    <a:pt x="746" y="516"/>
                  </a:lnTo>
                  <a:lnTo>
                    <a:pt x="746" y="502"/>
                  </a:lnTo>
                  <a:lnTo>
                    <a:pt x="745" y="488"/>
                  </a:lnTo>
                  <a:lnTo>
                    <a:pt x="743" y="475"/>
                  </a:lnTo>
                  <a:lnTo>
                    <a:pt x="740" y="460"/>
                  </a:lnTo>
                  <a:lnTo>
                    <a:pt x="736" y="448"/>
                  </a:lnTo>
                  <a:lnTo>
                    <a:pt x="731" y="435"/>
                  </a:lnTo>
                  <a:lnTo>
                    <a:pt x="726" y="421"/>
                  </a:lnTo>
                  <a:lnTo>
                    <a:pt x="720" y="409"/>
                  </a:lnTo>
                  <a:lnTo>
                    <a:pt x="714" y="396"/>
                  </a:lnTo>
                  <a:lnTo>
                    <a:pt x="706" y="385"/>
                  </a:lnTo>
                  <a:lnTo>
                    <a:pt x="697" y="373"/>
                  </a:lnTo>
                  <a:lnTo>
                    <a:pt x="688" y="362"/>
                  </a:lnTo>
                  <a:lnTo>
                    <a:pt x="679" y="352"/>
                  </a:lnTo>
                  <a:lnTo>
                    <a:pt x="679" y="352"/>
                  </a:lnTo>
                  <a:lnTo>
                    <a:pt x="665" y="339"/>
                  </a:lnTo>
                  <a:lnTo>
                    <a:pt x="652" y="328"/>
                  </a:lnTo>
                  <a:lnTo>
                    <a:pt x="637" y="319"/>
                  </a:lnTo>
                  <a:lnTo>
                    <a:pt x="623" y="310"/>
                  </a:lnTo>
                  <a:lnTo>
                    <a:pt x="607" y="303"/>
                  </a:lnTo>
                  <a:lnTo>
                    <a:pt x="592" y="297"/>
                  </a:lnTo>
                  <a:lnTo>
                    <a:pt x="575" y="292"/>
                  </a:lnTo>
                  <a:lnTo>
                    <a:pt x="559" y="288"/>
                  </a:lnTo>
                  <a:lnTo>
                    <a:pt x="542" y="285"/>
                  </a:lnTo>
                  <a:lnTo>
                    <a:pt x="525" y="284"/>
                  </a:lnTo>
                  <a:lnTo>
                    <a:pt x="508" y="284"/>
                  </a:lnTo>
                  <a:lnTo>
                    <a:pt x="491" y="285"/>
                  </a:lnTo>
                  <a:lnTo>
                    <a:pt x="475" y="287"/>
                  </a:lnTo>
                  <a:lnTo>
                    <a:pt x="457" y="291"/>
                  </a:lnTo>
                  <a:lnTo>
                    <a:pt x="441" y="296"/>
                  </a:lnTo>
                  <a:lnTo>
                    <a:pt x="424" y="302"/>
                  </a:lnTo>
                  <a:lnTo>
                    <a:pt x="424" y="302"/>
                  </a:lnTo>
                  <a:lnTo>
                    <a:pt x="420" y="303"/>
                  </a:lnTo>
                  <a:lnTo>
                    <a:pt x="415" y="304"/>
                  </a:lnTo>
                  <a:lnTo>
                    <a:pt x="410" y="304"/>
                  </a:lnTo>
                  <a:lnTo>
                    <a:pt x="405" y="304"/>
                  </a:lnTo>
                  <a:lnTo>
                    <a:pt x="400" y="303"/>
                  </a:lnTo>
                  <a:lnTo>
                    <a:pt x="396" y="301"/>
                  </a:lnTo>
                  <a:lnTo>
                    <a:pt x="392" y="298"/>
                  </a:lnTo>
                  <a:lnTo>
                    <a:pt x="388" y="295"/>
                  </a:lnTo>
                  <a:lnTo>
                    <a:pt x="141" y="48"/>
                  </a:lnTo>
                  <a:lnTo>
                    <a:pt x="187" y="0"/>
                  </a:lnTo>
                  <a:lnTo>
                    <a:pt x="420" y="233"/>
                  </a:lnTo>
                  <a:lnTo>
                    <a:pt x="420" y="233"/>
                  </a:lnTo>
                  <a:lnTo>
                    <a:pt x="440" y="227"/>
                  </a:lnTo>
                  <a:lnTo>
                    <a:pt x="460" y="223"/>
                  </a:lnTo>
                  <a:lnTo>
                    <a:pt x="481" y="219"/>
                  </a:lnTo>
                  <a:lnTo>
                    <a:pt x="501" y="217"/>
                  </a:lnTo>
                  <a:lnTo>
                    <a:pt x="521" y="217"/>
                  </a:lnTo>
                  <a:lnTo>
                    <a:pt x="542" y="218"/>
                  </a:lnTo>
                  <a:lnTo>
                    <a:pt x="562" y="222"/>
                  </a:lnTo>
                  <a:lnTo>
                    <a:pt x="582" y="225"/>
                  </a:lnTo>
                  <a:lnTo>
                    <a:pt x="602" y="231"/>
                  </a:lnTo>
                  <a:lnTo>
                    <a:pt x="621" y="237"/>
                  </a:lnTo>
                  <a:lnTo>
                    <a:pt x="640" y="245"/>
                  </a:lnTo>
                  <a:lnTo>
                    <a:pt x="658" y="255"/>
                  </a:lnTo>
                  <a:lnTo>
                    <a:pt x="676" y="265"/>
                  </a:lnTo>
                  <a:lnTo>
                    <a:pt x="693" y="277"/>
                  </a:lnTo>
                  <a:lnTo>
                    <a:pt x="710" y="290"/>
                  </a:lnTo>
                  <a:lnTo>
                    <a:pt x="725" y="304"/>
                  </a:lnTo>
                  <a:lnTo>
                    <a:pt x="725" y="304"/>
                  </a:lnTo>
                  <a:lnTo>
                    <a:pt x="741" y="321"/>
                  </a:lnTo>
                  <a:lnTo>
                    <a:pt x="754" y="338"/>
                  </a:lnTo>
                  <a:lnTo>
                    <a:pt x="767" y="357"/>
                  </a:lnTo>
                  <a:lnTo>
                    <a:pt x="778" y="376"/>
                  </a:lnTo>
                  <a:lnTo>
                    <a:pt x="787" y="395"/>
                  </a:lnTo>
                  <a:lnTo>
                    <a:pt x="796" y="416"/>
                  </a:lnTo>
                  <a:lnTo>
                    <a:pt x="802" y="437"/>
                  </a:lnTo>
                  <a:lnTo>
                    <a:pt x="807" y="458"/>
                  </a:lnTo>
                  <a:lnTo>
                    <a:pt x="810" y="479"/>
                  </a:lnTo>
                  <a:lnTo>
                    <a:pt x="812" y="501"/>
                  </a:lnTo>
                  <a:lnTo>
                    <a:pt x="812" y="522"/>
                  </a:lnTo>
                  <a:lnTo>
                    <a:pt x="811" y="544"/>
                  </a:lnTo>
                  <a:lnTo>
                    <a:pt x="808" y="566"/>
                  </a:lnTo>
                  <a:lnTo>
                    <a:pt x="803" y="588"/>
                  </a:lnTo>
                  <a:lnTo>
                    <a:pt x="797" y="609"/>
                  </a:lnTo>
                  <a:lnTo>
                    <a:pt x="788" y="631"/>
                  </a:lnTo>
                  <a:lnTo>
                    <a:pt x="788" y="631"/>
                  </a:lnTo>
                  <a:lnTo>
                    <a:pt x="784" y="637"/>
                  </a:lnTo>
                  <a:lnTo>
                    <a:pt x="779" y="643"/>
                  </a:lnTo>
                  <a:lnTo>
                    <a:pt x="773" y="648"/>
                  </a:lnTo>
                  <a:lnTo>
                    <a:pt x="765" y="651"/>
                  </a:lnTo>
                  <a:lnTo>
                    <a:pt x="765" y="651"/>
                  </a:lnTo>
                  <a:lnTo>
                    <a:pt x="757" y="651"/>
                  </a:lnTo>
                  <a:lnTo>
                    <a:pt x="749" y="650"/>
                  </a:lnTo>
                  <a:lnTo>
                    <a:pt x="742" y="647"/>
                  </a:lnTo>
                  <a:lnTo>
                    <a:pt x="736" y="642"/>
                  </a:lnTo>
                  <a:lnTo>
                    <a:pt x="602" y="519"/>
                  </a:lnTo>
                  <a:lnTo>
                    <a:pt x="516" y="519"/>
                  </a:lnTo>
                  <a:lnTo>
                    <a:pt x="516" y="605"/>
                  </a:lnTo>
                  <a:lnTo>
                    <a:pt x="641" y="735"/>
                  </a:lnTo>
                  <a:lnTo>
                    <a:pt x="641" y="735"/>
                  </a:lnTo>
                  <a:lnTo>
                    <a:pt x="647" y="742"/>
                  </a:lnTo>
                  <a:lnTo>
                    <a:pt x="650" y="749"/>
                  </a:lnTo>
                  <a:lnTo>
                    <a:pt x="651" y="757"/>
                  </a:lnTo>
                  <a:lnTo>
                    <a:pt x="650" y="764"/>
                  </a:lnTo>
                  <a:lnTo>
                    <a:pt x="650" y="764"/>
                  </a:lnTo>
                  <a:lnTo>
                    <a:pt x="648" y="773"/>
                  </a:lnTo>
                  <a:lnTo>
                    <a:pt x="643" y="779"/>
                  </a:lnTo>
                  <a:lnTo>
                    <a:pt x="637" y="784"/>
                  </a:lnTo>
                  <a:lnTo>
                    <a:pt x="631" y="788"/>
                  </a:lnTo>
                  <a:lnTo>
                    <a:pt x="631" y="788"/>
                  </a:lnTo>
                  <a:lnTo>
                    <a:pt x="617" y="794"/>
                  </a:lnTo>
                  <a:lnTo>
                    <a:pt x="602" y="799"/>
                  </a:lnTo>
                  <a:lnTo>
                    <a:pt x="588" y="803"/>
                  </a:lnTo>
                  <a:lnTo>
                    <a:pt x="573" y="807"/>
                  </a:lnTo>
                  <a:lnTo>
                    <a:pt x="559" y="809"/>
                  </a:lnTo>
                  <a:lnTo>
                    <a:pt x="543" y="811"/>
                  </a:lnTo>
                  <a:lnTo>
                    <a:pt x="529" y="812"/>
                  </a:lnTo>
                  <a:lnTo>
                    <a:pt x="514" y="812"/>
                  </a:lnTo>
                  <a:lnTo>
                    <a:pt x="514" y="8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pPr defTabSz="457200">
                <a:defRPr/>
              </a:pPr>
              <a:endParaRPr lang="en-US" sz="7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D63958B-EC22-AC8F-28E3-47DE6156644C}"/>
                </a:ext>
              </a:extLst>
            </p:cNvPr>
            <p:cNvSpPr txBox="1"/>
            <p:nvPr/>
          </p:nvSpPr>
          <p:spPr>
            <a:xfrm>
              <a:off x="964272" y="2491931"/>
              <a:ext cx="3250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457200" rtl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VP</a:t>
              </a:r>
              <a:endParaRPr lang="en-US" sz="500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72DD0F8B-7A32-55C7-A919-C42D43D73FBE}"/>
              </a:ext>
            </a:extLst>
          </p:cNvPr>
          <p:cNvSpPr txBox="1"/>
          <p:nvPr/>
        </p:nvSpPr>
        <p:spPr>
          <a:xfrm>
            <a:off x="2087809" y="2593721"/>
            <a:ext cx="29570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pan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59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untries</a:t>
            </a:r>
            <a:endParaRPr kumimoji="0" lang="ar-SA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FC0A3D9C-2B6F-F4BF-1DAB-A75B24C45E85}"/>
              </a:ext>
            </a:extLst>
          </p:cNvPr>
          <p:cNvSpPr/>
          <p:nvPr/>
        </p:nvSpPr>
        <p:spPr>
          <a:xfrm rot="16200000" flipV="1">
            <a:off x="1506580" y="2559419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DC8D9DC-DFB2-39DE-E60C-E3447367B3E1}"/>
              </a:ext>
            </a:extLst>
          </p:cNvPr>
          <p:cNvSpPr/>
          <p:nvPr/>
        </p:nvSpPr>
        <p:spPr>
          <a:xfrm>
            <a:off x="1555607" y="2627758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Graphic 29" descr="Earth Globe - Asia with solid fill">
            <a:extLst>
              <a:ext uri="{FF2B5EF4-FFF2-40B4-BE49-F238E27FC236}">
                <a16:creationId xmlns:a16="http://schemas.microsoft.com/office/drawing/2014/main" id="{37FBE015-F201-FC2B-41D4-5B528AF035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62770" y="2643993"/>
            <a:ext cx="422676" cy="42267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5BA5385-39AC-11E0-1647-737DD658AEBA}"/>
              </a:ext>
            </a:extLst>
          </p:cNvPr>
          <p:cNvSpPr txBox="1"/>
          <p:nvPr/>
        </p:nvSpPr>
        <p:spPr>
          <a:xfrm>
            <a:off x="2103362" y="3611601"/>
            <a:ext cx="3019764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fessions to </a:t>
            </a:r>
            <a:r>
              <a:rPr lang="en-U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31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covered 100% of the worker's flow</a:t>
            </a:r>
            <a:endParaRPr lang="ar-SA" sz="14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: Top Corners Rounded 31">
            <a:extLst>
              <a:ext uri="{FF2B5EF4-FFF2-40B4-BE49-F238E27FC236}">
                <a16:creationId xmlns:a16="http://schemas.microsoft.com/office/drawing/2014/main" id="{F14566AE-A808-7792-B2FC-D6839D425C14}"/>
              </a:ext>
            </a:extLst>
          </p:cNvPr>
          <p:cNvSpPr/>
          <p:nvPr/>
        </p:nvSpPr>
        <p:spPr>
          <a:xfrm rot="16200000" flipV="1">
            <a:off x="1504756" y="3629502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0880A10-C3A9-A357-4CF5-D01FC4D8FB23}"/>
              </a:ext>
            </a:extLst>
          </p:cNvPr>
          <p:cNvSpPr/>
          <p:nvPr/>
        </p:nvSpPr>
        <p:spPr>
          <a:xfrm>
            <a:off x="1553783" y="3697841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4A15202-031C-34A9-216E-044D3634989F}"/>
              </a:ext>
            </a:extLst>
          </p:cNvPr>
          <p:cNvGrpSpPr/>
          <p:nvPr/>
        </p:nvGrpSpPr>
        <p:grpSpPr>
          <a:xfrm>
            <a:off x="1613068" y="3749902"/>
            <a:ext cx="292607" cy="303484"/>
            <a:chOff x="10216392" y="8410196"/>
            <a:chExt cx="450219" cy="365609"/>
          </a:xfrm>
        </p:grpSpPr>
        <p:sp>
          <p:nvSpPr>
            <p:cNvPr id="40" name="Freeform 425">
              <a:extLst>
                <a:ext uri="{FF2B5EF4-FFF2-40B4-BE49-F238E27FC236}">
                  <a16:creationId xmlns:a16="http://schemas.microsoft.com/office/drawing/2014/main" id="{1EB9DAC5-6223-5D94-7128-49DBA0822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9154" y="8495562"/>
              <a:ext cx="47876" cy="274207"/>
            </a:xfrm>
            <a:custGeom>
              <a:avLst/>
              <a:gdLst>
                <a:gd name="T0" fmla="*/ 65 w 122"/>
                <a:gd name="T1" fmla="*/ 748 h 748"/>
                <a:gd name="T2" fmla="*/ 65 w 122"/>
                <a:gd name="T3" fmla="*/ 748 h 748"/>
                <a:gd name="T4" fmla="*/ 0 w 122"/>
                <a:gd name="T5" fmla="*/ 683 h 748"/>
                <a:gd name="T6" fmla="*/ 0 w 122"/>
                <a:gd name="T7" fmla="*/ 0 h 748"/>
                <a:gd name="T8" fmla="*/ 122 w 122"/>
                <a:gd name="T9" fmla="*/ 0 h 748"/>
                <a:gd name="T10" fmla="*/ 122 w 122"/>
                <a:gd name="T11" fmla="*/ 691 h 748"/>
                <a:gd name="T12" fmla="*/ 65 w 122"/>
                <a:gd name="T13" fmla="*/ 748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748">
                  <a:moveTo>
                    <a:pt x="65" y="748"/>
                  </a:moveTo>
                  <a:lnTo>
                    <a:pt x="65" y="748"/>
                  </a:lnTo>
                  <a:cubicBezTo>
                    <a:pt x="29" y="748"/>
                    <a:pt x="0" y="719"/>
                    <a:pt x="0" y="68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691"/>
                  </a:lnTo>
                  <a:cubicBezTo>
                    <a:pt x="122" y="722"/>
                    <a:pt x="96" y="748"/>
                    <a:pt x="65" y="748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1" name="Freeform 426">
              <a:extLst>
                <a:ext uri="{FF2B5EF4-FFF2-40B4-BE49-F238E27FC236}">
                  <a16:creationId xmlns:a16="http://schemas.microsoft.com/office/drawing/2014/main" id="{868F246D-5367-F215-25BB-6B20DFA1F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937" y="8412783"/>
              <a:ext cx="326846" cy="89678"/>
            </a:xfrm>
            <a:custGeom>
              <a:avLst/>
              <a:gdLst>
                <a:gd name="T0" fmla="*/ 837 w 837"/>
                <a:gd name="T1" fmla="*/ 243 h 243"/>
                <a:gd name="T2" fmla="*/ 300 w 837"/>
                <a:gd name="T3" fmla="*/ 243 h 243"/>
                <a:gd name="T4" fmla="*/ 230 w 837"/>
                <a:gd name="T5" fmla="*/ 146 h 243"/>
                <a:gd name="T6" fmla="*/ 0 w 837"/>
                <a:gd name="T7" fmla="*/ 146 h 243"/>
                <a:gd name="T8" fmla="*/ 0 w 837"/>
                <a:gd name="T9" fmla="*/ 0 h 243"/>
                <a:gd name="T10" fmla="*/ 837 w 837"/>
                <a:gd name="T11" fmla="*/ 0 h 243"/>
                <a:gd name="T12" fmla="*/ 837 w 837"/>
                <a:gd name="T13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243">
                  <a:moveTo>
                    <a:pt x="837" y="243"/>
                  </a:moveTo>
                  <a:lnTo>
                    <a:pt x="300" y="243"/>
                  </a:lnTo>
                  <a:cubicBezTo>
                    <a:pt x="277" y="210"/>
                    <a:pt x="253" y="178"/>
                    <a:pt x="230" y="146"/>
                  </a:cubicBezTo>
                  <a:cubicBezTo>
                    <a:pt x="154" y="146"/>
                    <a:pt x="77" y="146"/>
                    <a:pt x="0" y="146"/>
                  </a:cubicBezTo>
                  <a:lnTo>
                    <a:pt x="0" y="0"/>
                  </a:lnTo>
                  <a:lnTo>
                    <a:pt x="837" y="0"/>
                  </a:lnTo>
                  <a:lnTo>
                    <a:pt x="837" y="243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2" name="Freeform 428">
              <a:extLst>
                <a:ext uri="{FF2B5EF4-FFF2-40B4-BE49-F238E27FC236}">
                  <a16:creationId xmlns:a16="http://schemas.microsoft.com/office/drawing/2014/main" id="{72E327F5-7853-6481-F009-181F84331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3" name="Freeform 429">
              <a:extLst>
                <a:ext uri="{FF2B5EF4-FFF2-40B4-BE49-F238E27FC236}">
                  <a16:creationId xmlns:a16="http://schemas.microsoft.com/office/drawing/2014/main" id="{2A45C45B-E3DB-4AA9-9680-AD227C7C5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3192" y="8661983"/>
              <a:ext cx="242142" cy="113822"/>
            </a:xfrm>
            <a:custGeom>
              <a:avLst/>
              <a:gdLst>
                <a:gd name="T0" fmla="*/ 619 w 619"/>
                <a:gd name="T1" fmla="*/ 310 h 310"/>
                <a:gd name="T2" fmla="*/ 619 w 619"/>
                <a:gd name="T3" fmla="*/ 275 h 310"/>
                <a:gd name="T4" fmla="*/ 592 w 619"/>
                <a:gd name="T5" fmla="*/ 248 h 310"/>
                <a:gd name="T6" fmla="*/ 573 w 619"/>
                <a:gd name="T7" fmla="*/ 248 h 310"/>
                <a:gd name="T8" fmla="*/ 544 w 619"/>
                <a:gd name="T9" fmla="*/ 227 h 310"/>
                <a:gd name="T10" fmla="*/ 533 w 619"/>
                <a:gd name="T11" fmla="*/ 202 h 310"/>
                <a:gd name="T12" fmla="*/ 539 w 619"/>
                <a:gd name="T13" fmla="*/ 169 h 310"/>
                <a:gd name="T14" fmla="*/ 552 w 619"/>
                <a:gd name="T15" fmla="*/ 156 h 310"/>
                <a:gd name="T16" fmla="*/ 554 w 619"/>
                <a:gd name="T17" fmla="*/ 116 h 310"/>
                <a:gd name="T18" fmla="*/ 504 w 619"/>
                <a:gd name="T19" fmla="*/ 66 h 310"/>
                <a:gd name="T20" fmla="*/ 465 w 619"/>
                <a:gd name="T21" fmla="*/ 66 h 310"/>
                <a:gd name="T22" fmla="*/ 452 w 619"/>
                <a:gd name="T23" fmla="*/ 80 h 310"/>
                <a:gd name="T24" fmla="*/ 417 w 619"/>
                <a:gd name="T25" fmla="*/ 86 h 310"/>
                <a:gd name="T26" fmla="*/ 392 w 619"/>
                <a:gd name="T27" fmla="*/ 76 h 310"/>
                <a:gd name="T28" fmla="*/ 372 w 619"/>
                <a:gd name="T29" fmla="*/ 47 h 310"/>
                <a:gd name="T30" fmla="*/ 372 w 619"/>
                <a:gd name="T31" fmla="*/ 28 h 310"/>
                <a:gd name="T32" fmla="*/ 345 w 619"/>
                <a:gd name="T33" fmla="*/ 0 h 310"/>
                <a:gd name="T34" fmla="*/ 275 w 619"/>
                <a:gd name="T35" fmla="*/ 0 h 310"/>
                <a:gd name="T36" fmla="*/ 247 w 619"/>
                <a:gd name="T37" fmla="*/ 28 h 310"/>
                <a:gd name="T38" fmla="*/ 247 w 619"/>
                <a:gd name="T39" fmla="*/ 47 h 310"/>
                <a:gd name="T40" fmla="*/ 227 w 619"/>
                <a:gd name="T41" fmla="*/ 76 h 310"/>
                <a:gd name="T42" fmla="*/ 202 w 619"/>
                <a:gd name="T43" fmla="*/ 86 h 310"/>
                <a:gd name="T44" fmla="*/ 169 w 619"/>
                <a:gd name="T45" fmla="*/ 81 h 310"/>
                <a:gd name="T46" fmla="*/ 156 w 619"/>
                <a:gd name="T47" fmla="*/ 68 h 310"/>
                <a:gd name="T48" fmla="*/ 116 w 619"/>
                <a:gd name="T49" fmla="*/ 66 h 310"/>
                <a:gd name="T50" fmla="*/ 66 w 619"/>
                <a:gd name="T51" fmla="*/ 116 h 310"/>
                <a:gd name="T52" fmla="*/ 66 w 619"/>
                <a:gd name="T53" fmla="*/ 154 h 310"/>
                <a:gd name="T54" fmla="*/ 80 w 619"/>
                <a:gd name="T55" fmla="*/ 168 h 310"/>
                <a:gd name="T56" fmla="*/ 86 w 619"/>
                <a:gd name="T57" fmla="*/ 203 h 310"/>
                <a:gd name="T58" fmla="*/ 76 w 619"/>
                <a:gd name="T59" fmla="*/ 228 h 310"/>
                <a:gd name="T60" fmla="*/ 48 w 619"/>
                <a:gd name="T61" fmla="*/ 248 h 310"/>
                <a:gd name="T62" fmla="*/ 30 w 619"/>
                <a:gd name="T63" fmla="*/ 248 h 310"/>
                <a:gd name="T64" fmla="*/ 0 w 619"/>
                <a:gd name="T65" fmla="*/ 275 h 310"/>
                <a:gd name="T66" fmla="*/ 0 w 619"/>
                <a:gd name="T67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9" h="310">
                  <a:moveTo>
                    <a:pt x="619" y="310"/>
                  </a:moveTo>
                  <a:lnTo>
                    <a:pt x="619" y="275"/>
                  </a:lnTo>
                  <a:cubicBezTo>
                    <a:pt x="619" y="260"/>
                    <a:pt x="607" y="248"/>
                    <a:pt x="592" y="248"/>
                  </a:cubicBezTo>
                  <a:lnTo>
                    <a:pt x="573" y="248"/>
                  </a:lnTo>
                  <a:cubicBezTo>
                    <a:pt x="560" y="248"/>
                    <a:pt x="548" y="240"/>
                    <a:pt x="544" y="227"/>
                  </a:cubicBezTo>
                  <a:cubicBezTo>
                    <a:pt x="541" y="219"/>
                    <a:pt x="537" y="210"/>
                    <a:pt x="533" y="202"/>
                  </a:cubicBezTo>
                  <a:cubicBezTo>
                    <a:pt x="528" y="191"/>
                    <a:pt x="530" y="178"/>
                    <a:pt x="539" y="169"/>
                  </a:cubicBezTo>
                  <a:lnTo>
                    <a:pt x="552" y="156"/>
                  </a:lnTo>
                  <a:cubicBezTo>
                    <a:pt x="564" y="144"/>
                    <a:pt x="564" y="127"/>
                    <a:pt x="554" y="116"/>
                  </a:cubicBezTo>
                  <a:lnTo>
                    <a:pt x="504" y="66"/>
                  </a:lnTo>
                  <a:cubicBezTo>
                    <a:pt x="493" y="56"/>
                    <a:pt x="476" y="56"/>
                    <a:pt x="465" y="66"/>
                  </a:cubicBezTo>
                  <a:lnTo>
                    <a:pt x="452" y="80"/>
                  </a:lnTo>
                  <a:cubicBezTo>
                    <a:pt x="442" y="89"/>
                    <a:pt x="429" y="92"/>
                    <a:pt x="417" y="86"/>
                  </a:cubicBezTo>
                  <a:cubicBezTo>
                    <a:pt x="409" y="82"/>
                    <a:pt x="401" y="79"/>
                    <a:pt x="392" y="76"/>
                  </a:cubicBezTo>
                  <a:cubicBezTo>
                    <a:pt x="380" y="72"/>
                    <a:pt x="372" y="60"/>
                    <a:pt x="372" y="47"/>
                  </a:cubicBezTo>
                  <a:lnTo>
                    <a:pt x="372" y="28"/>
                  </a:lnTo>
                  <a:cubicBezTo>
                    <a:pt x="372" y="13"/>
                    <a:pt x="360" y="0"/>
                    <a:pt x="345" y="0"/>
                  </a:cubicBezTo>
                  <a:lnTo>
                    <a:pt x="275" y="0"/>
                  </a:lnTo>
                  <a:cubicBezTo>
                    <a:pt x="260" y="0"/>
                    <a:pt x="247" y="13"/>
                    <a:pt x="247" y="28"/>
                  </a:cubicBezTo>
                  <a:lnTo>
                    <a:pt x="247" y="47"/>
                  </a:lnTo>
                  <a:cubicBezTo>
                    <a:pt x="247" y="60"/>
                    <a:pt x="239" y="72"/>
                    <a:pt x="227" y="76"/>
                  </a:cubicBezTo>
                  <a:cubicBezTo>
                    <a:pt x="219" y="79"/>
                    <a:pt x="210" y="83"/>
                    <a:pt x="202" y="86"/>
                  </a:cubicBezTo>
                  <a:cubicBezTo>
                    <a:pt x="191" y="92"/>
                    <a:pt x="177" y="89"/>
                    <a:pt x="169" y="81"/>
                  </a:cubicBezTo>
                  <a:lnTo>
                    <a:pt x="156" y="68"/>
                  </a:lnTo>
                  <a:cubicBezTo>
                    <a:pt x="144" y="56"/>
                    <a:pt x="126" y="56"/>
                    <a:pt x="116" y="66"/>
                  </a:cubicBezTo>
                  <a:lnTo>
                    <a:pt x="66" y="116"/>
                  </a:lnTo>
                  <a:cubicBezTo>
                    <a:pt x="55" y="127"/>
                    <a:pt x="55" y="144"/>
                    <a:pt x="66" y="154"/>
                  </a:cubicBezTo>
                  <a:lnTo>
                    <a:pt x="80" y="168"/>
                  </a:lnTo>
                  <a:cubicBezTo>
                    <a:pt x="89" y="177"/>
                    <a:pt x="92" y="191"/>
                    <a:pt x="86" y="203"/>
                  </a:cubicBezTo>
                  <a:cubicBezTo>
                    <a:pt x="82" y="211"/>
                    <a:pt x="79" y="220"/>
                    <a:pt x="76" y="228"/>
                  </a:cubicBezTo>
                  <a:cubicBezTo>
                    <a:pt x="72" y="240"/>
                    <a:pt x="60" y="248"/>
                    <a:pt x="48" y="248"/>
                  </a:cubicBezTo>
                  <a:lnTo>
                    <a:pt x="30" y="248"/>
                  </a:lnTo>
                  <a:cubicBezTo>
                    <a:pt x="12" y="248"/>
                    <a:pt x="0" y="260"/>
                    <a:pt x="0" y="275"/>
                  </a:cubicBezTo>
                  <a:lnTo>
                    <a:pt x="0" y="31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4" name="Freeform 430">
              <a:extLst>
                <a:ext uri="{FF2B5EF4-FFF2-40B4-BE49-F238E27FC236}">
                  <a16:creationId xmlns:a16="http://schemas.microsoft.com/office/drawing/2014/main" id="{2CE03187-7131-FBD9-13CF-B37B4718C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5" name="Freeform 431">
              <a:extLst>
                <a:ext uri="{FF2B5EF4-FFF2-40B4-BE49-F238E27FC236}">
                  <a16:creationId xmlns:a16="http://schemas.microsoft.com/office/drawing/2014/main" id="{EAF288EA-BEDF-1105-68C8-8CEC712AA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6000" y="8535227"/>
              <a:ext cx="120611" cy="227643"/>
            </a:xfrm>
            <a:custGeom>
              <a:avLst/>
              <a:gdLst>
                <a:gd name="T0" fmla="*/ 309 w 309"/>
                <a:gd name="T1" fmla="*/ 0 h 619"/>
                <a:gd name="T2" fmla="*/ 274 w 309"/>
                <a:gd name="T3" fmla="*/ 0 h 619"/>
                <a:gd name="T4" fmla="*/ 247 w 309"/>
                <a:gd name="T5" fmla="*/ 27 h 619"/>
                <a:gd name="T6" fmla="*/ 247 w 309"/>
                <a:gd name="T7" fmla="*/ 47 h 619"/>
                <a:gd name="T8" fmla="*/ 227 w 309"/>
                <a:gd name="T9" fmla="*/ 76 h 619"/>
                <a:gd name="T10" fmla="*/ 201 w 309"/>
                <a:gd name="T11" fmla="*/ 86 h 619"/>
                <a:gd name="T12" fmla="*/ 168 w 309"/>
                <a:gd name="T13" fmla="*/ 80 h 619"/>
                <a:gd name="T14" fmla="*/ 156 w 309"/>
                <a:gd name="T15" fmla="*/ 68 h 619"/>
                <a:gd name="T16" fmla="*/ 115 w 309"/>
                <a:gd name="T17" fmla="*/ 66 h 619"/>
                <a:gd name="T18" fmla="*/ 66 w 309"/>
                <a:gd name="T19" fmla="*/ 116 h 619"/>
                <a:gd name="T20" fmla="*/ 66 w 309"/>
                <a:gd name="T21" fmla="*/ 154 h 619"/>
                <a:gd name="T22" fmla="*/ 79 w 309"/>
                <a:gd name="T23" fmla="*/ 168 h 619"/>
                <a:gd name="T24" fmla="*/ 85 w 309"/>
                <a:gd name="T25" fmla="*/ 203 h 619"/>
                <a:gd name="T26" fmla="*/ 75 w 309"/>
                <a:gd name="T27" fmla="*/ 227 h 619"/>
                <a:gd name="T28" fmla="*/ 46 w 309"/>
                <a:gd name="T29" fmla="*/ 247 h 619"/>
                <a:gd name="T30" fmla="*/ 27 w 309"/>
                <a:gd name="T31" fmla="*/ 247 h 619"/>
                <a:gd name="T32" fmla="*/ 0 w 309"/>
                <a:gd name="T33" fmla="*/ 274 h 619"/>
                <a:gd name="T34" fmla="*/ 0 w 309"/>
                <a:gd name="T35" fmla="*/ 345 h 619"/>
                <a:gd name="T36" fmla="*/ 27 w 309"/>
                <a:gd name="T37" fmla="*/ 372 h 619"/>
                <a:gd name="T38" fmla="*/ 46 w 309"/>
                <a:gd name="T39" fmla="*/ 372 h 619"/>
                <a:gd name="T40" fmla="*/ 75 w 309"/>
                <a:gd name="T41" fmla="*/ 392 h 619"/>
                <a:gd name="T42" fmla="*/ 86 w 309"/>
                <a:gd name="T43" fmla="*/ 418 h 619"/>
                <a:gd name="T44" fmla="*/ 80 w 309"/>
                <a:gd name="T45" fmla="*/ 451 h 619"/>
                <a:gd name="T46" fmla="*/ 67 w 309"/>
                <a:gd name="T47" fmla="*/ 463 h 619"/>
                <a:gd name="T48" fmla="*/ 66 w 309"/>
                <a:gd name="T49" fmla="*/ 504 h 619"/>
                <a:gd name="T50" fmla="*/ 115 w 309"/>
                <a:gd name="T51" fmla="*/ 553 h 619"/>
                <a:gd name="T52" fmla="*/ 154 w 309"/>
                <a:gd name="T53" fmla="*/ 553 h 619"/>
                <a:gd name="T54" fmla="*/ 167 w 309"/>
                <a:gd name="T55" fmla="*/ 540 h 619"/>
                <a:gd name="T56" fmla="*/ 202 w 309"/>
                <a:gd name="T57" fmla="*/ 533 h 619"/>
                <a:gd name="T58" fmla="*/ 228 w 309"/>
                <a:gd name="T59" fmla="*/ 544 h 619"/>
                <a:gd name="T60" fmla="*/ 247 w 309"/>
                <a:gd name="T61" fmla="*/ 572 h 619"/>
                <a:gd name="T62" fmla="*/ 247 w 309"/>
                <a:gd name="T63" fmla="*/ 589 h 619"/>
                <a:gd name="T64" fmla="*/ 274 w 309"/>
                <a:gd name="T65" fmla="*/ 619 h 619"/>
                <a:gd name="T66" fmla="*/ 309 w 309"/>
                <a:gd name="T67" fmla="*/ 619 h 619"/>
                <a:gd name="T68" fmla="*/ 309 w 309"/>
                <a:gd name="T69" fmla="*/ 0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9" h="619">
                  <a:moveTo>
                    <a:pt x="309" y="0"/>
                  </a:moveTo>
                  <a:lnTo>
                    <a:pt x="274" y="0"/>
                  </a:lnTo>
                  <a:cubicBezTo>
                    <a:pt x="259" y="0"/>
                    <a:pt x="247" y="12"/>
                    <a:pt x="247" y="27"/>
                  </a:cubicBezTo>
                  <a:lnTo>
                    <a:pt x="247" y="47"/>
                  </a:lnTo>
                  <a:cubicBezTo>
                    <a:pt x="247" y="60"/>
                    <a:pt x="239" y="71"/>
                    <a:pt x="227" y="76"/>
                  </a:cubicBezTo>
                  <a:cubicBezTo>
                    <a:pt x="218" y="79"/>
                    <a:pt x="210" y="82"/>
                    <a:pt x="201" y="86"/>
                  </a:cubicBezTo>
                  <a:cubicBezTo>
                    <a:pt x="190" y="92"/>
                    <a:pt x="177" y="89"/>
                    <a:pt x="168" y="80"/>
                  </a:cubicBezTo>
                  <a:lnTo>
                    <a:pt x="156" y="68"/>
                  </a:lnTo>
                  <a:cubicBezTo>
                    <a:pt x="143" y="55"/>
                    <a:pt x="126" y="55"/>
                    <a:pt x="115" y="66"/>
                  </a:cubicBezTo>
                  <a:lnTo>
                    <a:pt x="66" y="116"/>
                  </a:lnTo>
                  <a:cubicBezTo>
                    <a:pt x="55" y="126"/>
                    <a:pt x="55" y="143"/>
                    <a:pt x="66" y="154"/>
                  </a:cubicBezTo>
                  <a:lnTo>
                    <a:pt x="79" y="168"/>
                  </a:lnTo>
                  <a:cubicBezTo>
                    <a:pt x="88" y="177"/>
                    <a:pt x="91" y="191"/>
                    <a:pt x="85" y="203"/>
                  </a:cubicBezTo>
                  <a:cubicBezTo>
                    <a:pt x="82" y="211"/>
                    <a:pt x="78" y="219"/>
                    <a:pt x="75" y="227"/>
                  </a:cubicBezTo>
                  <a:cubicBezTo>
                    <a:pt x="71" y="239"/>
                    <a:pt x="59" y="247"/>
                    <a:pt x="46" y="247"/>
                  </a:cubicBezTo>
                  <a:lnTo>
                    <a:pt x="27" y="247"/>
                  </a:lnTo>
                  <a:cubicBezTo>
                    <a:pt x="12" y="247"/>
                    <a:pt x="0" y="259"/>
                    <a:pt x="0" y="274"/>
                  </a:cubicBezTo>
                  <a:lnTo>
                    <a:pt x="0" y="345"/>
                  </a:lnTo>
                  <a:cubicBezTo>
                    <a:pt x="0" y="360"/>
                    <a:pt x="12" y="372"/>
                    <a:pt x="27" y="372"/>
                  </a:cubicBezTo>
                  <a:lnTo>
                    <a:pt x="46" y="372"/>
                  </a:lnTo>
                  <a:cubicBezTo>
                    <a:pt x="59" y="372"/>
                    <a:pt x="71" y="380"/>
                    <a:pt x="75" y="392"/>
                  </a:cubicBezTo>
                  <a:cubicBezTo>
                    <a:pt x="78" y="401"/>
                    <a:pt x="82" y="409"/>
                    <a:pt x="86" y="418"/>
                  </a:cubicBezTo>
                  <a:cubicBezTo>
                    <a:pt x="91" y="429"/>
                    <a:pt x="89" y="442"/>
                    <a:pt x="80" y="451"/>
                  </a:cubicBezTo>
                  <a:lnTo>
                    <a:pt x="67" y="463"/>
                  </a:lnTo>
                  <a:cubicBezTo>
                    <a:pt x="55" y="476"/>
                    <a:pt x="55" y="493"/>
                    <a:pt x="66" y="504"/>
                  </a:cubicBezTo>
                  <a:lnTo>
                    <a:pt x="115" y="553"/>
                  </a:lnTo>
                  <a:cubicBezTo>
                    <a:pt x="126" y="564"/>
                    <a:pt x="143" y="564"/>
                    <a:pt x="154" y="553"/>
                  </a:cubicBezTo>
                  <a:lnTo>
                    <a:pt x="167" y="540"/>
                  </a:lnTo>
                  <a:cubicBezTo>
                    <a:pt x="177" y="531"/>
                    <a:pt x="191" y="528"/>
                    <a:pt x="202" y="533"/>
                  </a:cubicBezTo>
                  <a:cubicBezTo>
                    <a:pt x="211" y="537"/>
                    <a:pt x="219" y="541"/>
                    <a:pt x="228" y="544"/>
                  </a:cubicBezTo>
                  <a:cubicBezTo>
                    <a:pt x="239" y="548"/>
                    <a:pt x="247" y="559"/>
                    <a:pt x="247" y="572"/>
                  </a:cubicBezTo>
                  <a:lnTo>
                    <a:pt x="247" y="589"/>
                  </a:lnTo>
                  <a:cubicBezTo>
                    <a:pt x="247" y="607"/>
                    <a:pt x="259" y="619"/>
                    <a:pt x="274" y="619"/>
                  </a:cubicBezTo>
                  <a:lnTo>
                    <a:pt x="309" y="619"/>
                  </a:lnTo>
                  <a:lnTo>
                    <a:pt x="309" y="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6" name="Freeform 432">
              <a:extLst>
                <a:ext uri="{FF2B5EF4-FFF2-40B4-BE49-F238E27FC236}">
                  <a16:creationId xmlns:a16="http://schemas.microsoft.com/office/drawing/2014/main" id="{79AD8789-CAA8-FC80-EC3E-DE53ECDBA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1369" y="8598174"/>
              <a:ext cx="55242" cy="102612"/>
            </a:xfrm>
            <a:custGeom>
              <a:avLst/>
              <a:gdLst>
                <a:gd name="T0" fmla="*/ 140 w 140"/>
                <a:gd name="T1" fmla="*/ 280 h 280"/>
                <a:gd name="T2" fmla="*/ 0 w 140"/>
                <a:gd name="T3" fmla="*/ 140 h 280"/>
                <a:gd name="T4" fmla="*/ 140 w 140"/>
                <a:gd name="T5" fmla="*/ 0 h 280"/>
                <a:gd name="T6" fmla="*/ 140 w 140"/>
                <a:gd name="T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280">
                  <a:moveTo>
                    <a:pt x="140" y="280"/>
                  </a:moveTo>
                  <a:cubicBezTo>
                    <a:pt x="63" y="280"/>
                    <a:pt x="0" y="217"/>
                    <a:pt x="0" y="140"/>
                  </a:cubicBezTo>
                  <a:cubicBezTo>
                    <a:pt x="0" y="62"/>
                    <a:pt x="63" y="0"/>
                    <a:pt x="140" y="0"/>
                  </a:cubicBezTo>
                  <a:lnTo>
                    <a:pt x="140" y="28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7" name="Freeform 433">
              <a:extLst>
                <a:ext uri="{FF2B5EF4-FFF2-40B4-BE49-F238E27FC236}">
                  <a16:creationId xmlns:a16="http://schemas.microsoft.com/office/drawing/2014/main" id="{AFBE9767-B596-7DD4-4FC5-C0113AF1B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8607" y="8594725"/>
              <a:ext cx="58004" cy="108648"/>
            </a:xfrm>
            <a:custGeom>
              <a:avLst/>
              <a:gdLst>
                <a:gd name="T0" fmla="*/ 148 w 148"/>
                <a:gd name="T1" fmla="*/ 297 h 297"/>
                <a:gd name="T2" fmla="*/ 0 w 148"/>
                <a:gd name="T3" fmla="*/ 149 h 297"/>
                <a:gd name="T4" fmla="*/ 148 w 148"/>
                <a:gd name="T5" fmla="*/ 0 h 297"/>
                <a:gd name="T6" fmla="*/ 148 w 148"/>
                <a:gd name="T7" fmla="*/ 17 h 297"/>
                <a:gd name="T8" fmla="*/ 17 w 148"/>
                <a:gd name="T9" fmla="*/ 149 h 297"/>
                <a:gd name="T10" fmla="*/ 148 w 148"/>
                <a:gd name="T11" fmla="*/ 280 h 297"/>
                <a:gd name="T12" fmla="*/ 148 w 148"/>
                <a:gd name="T1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297">
                  <a:moveTo>
                    <a:pt x="148" y="297"/>
                  </a:moveTo>
                  <a:cubicBezTo>
                    <a:pt x="66" y="297"/>
                    <a:pt x="0" y="230"/>
                    <a:pt x="0" y="149"/>
                  </a:cubicBezTo>
                  <a:cubicBezTo>
                    <a:pt x="0" y="67"/>
                    <a:pt x="66" y="0"/>
                    <a:pt x="148" y="0"/>
                  </a:cubicBezTo>
                  <a:lnTo>
                    <a:pt x="148" y="17"/>
                  </a:lnTo>
                  <a:cubicBezTo>
                    <a:pt x="76" y="17"/>
                    <a:pt x="17" y="76"/>
                    <a:pt x="17" y="149"/>
                  </a:cubicBezTo>
                  <a:cubicBezTo>
                    <a:pt x="17" y="221"/>
                    <a:pt x="76" y="280"/>
                    <a:pt x="148" y="280"/>
                  </a:cubicBezTo>
                  <a:lnTo>
                    <a:pt x="148" y="29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8" name="Freeform 434">
              <a:extLst>
                <a:ext uri="{FF2B5EF4-FFF2-40B4-BE49-F238E27FC236}">
                  <a16:creationId xmlns:a16="http://schemas.microsoft.com/office/drawing/2014/main" id="{010C39F7-6737-DCDF-33F8-1233D2FD94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2317" y="8532641"/>
              <a:ext cx="124294" cy="233680"/>
            </a:xfrm>
            <a:custGeom>
              <a:avLst/>
              <a:gdLst>
                <a:gd name="T0" fmla="*/ 283 w 318"/>
                <a:gd name="T1" fmla="*/ 636 h 636"/>
                <a:gd name="T2" fmla="*/ 248 w 318"/>
                <a:gd name="T3" fmla="*/ 580 h 636"/>
                <a:gd name="T4" fmla="*/ 208 w 318"/>
                <a:gd name="T5" fmla="*/ 549 h 636"/>
                <a:gd name="T6" fmla="*/ 169 w 318"/>
                <a:gd name="T7" fmla="*/ 567 h 636"/>
                <a:gd name="T8" fmla="*/ 69 w 318"/>
                <a:gd name="T9" fmla="*/ 518 h 636"/>
                <a:gd name="T10" fmla="*/ 83 w 318"/>
                <a:gd name="T11" fmla="*/ 453 h 636"/>
                <a:gd name="T12" fmla="*/ 77 w 318"/>
                <a:gd name="T13" fmla="*/ 403 h 636"/>
                <a:gd name="T14" fmla="*/ 36 w 318"/>
                <a:gd name="T15" fmla="*/ 388 h 636"/>
                <a:gd name="T16" fmla="*/ 0 w 318"/>
                <a:gd name="T17" fmla="*/ 282 h 636"/>
                <a:gd name="T18" fmla="*/ 55 w 318"/>
                <a:gd name="T19" fmla="*/ 247 h 636"/>
                <a:gd name="T20" fmla="*/ 87 w 318"/>
                <a:gd name="T21" fmla="*/ 207 h 636"/>
                <a:gd name="T22" fmla="*/ 69 w 318"/>
                <a:gd name="T23" fmla="*/ 168 h 636"/>
                <a:gd name="T24" fmla="*/ 69 w 318"/>
                <a:gd name="T25" fmla="*/ 118 h 636"/>
                <a:gd name="T26" fmla="*/ 144 w 318"/>
                <a:gd name="T27" fmla="*/ 58 h 636"/>
                <a:gd name="T28" fmla="*/ 183 w 318"/>
                <a:gd name="T29" fmla="*/ 82 h 636"/>
                <a:gd name="T30" fmla="*/ 233 w 318"/>
                <a:gd name="T31" fmla="*/ 76 h 636"/>
                <a:gd name="T32" fmla="*/ 248 w 318"/>
                <a:gd name="T33" fmla="*/ 35 h 636"/>
                <a:gd name="T34" fmla="*/ 318 w 318"/>
                <a:gd name="T35" fmla="*/ 0 h 636"/>
                <a:gd name="T36" fmla="*/ 283 w 318"/>
                <a:gd name="T37" fmla="*/ 16 h 636"/>
                <a:gd name="T38" fmla="*/ 264 w 318"/>
                <a:gd name="T39" fmla="*/ 55 h 636"/>
                <a:gd name="T40" fmla="*/ 214 w 318"/>
                <a:gd name="T41" fmla="*/ 102 h 636"/>
                <a:gd name="T42" fmla="*/ 159 w 318"/>
                <a:gd name="T43" fmla="*/ 82 h 636"/>
                <a:gd name="T44" fmla="*/ 130 w 318"/>
                <a:gd name="T45" fmla="*/ 80 h 636"/>
                <a:gd name="T46" fmla="*/ 75 w 318"/>
                <a:gd name="T47" fmla="*/ 143 h 636"/>
                <a:gd name="T48" fmla="*/ 94 w 318"/>
                <a:gd name="T49" fmla="*/ 170 h 636"/>
                <a:gd name="T50" fmla="*/ 92 w 318"/>
                <a:gd name="T51" fmla="*/ 238 h 636"/>
                <a:gd name="T52" fmla="*/ 36 w 318"/>
                <a:gd name="T53" fmla="*/ 264 h 636"/>
                <a:gd name="T54" fmla="*/ 17 w 318"/>
                <a:gd name="T55" fmla="*/ 353 h 636"/>
                <a:gd name="T56" fmla="*/ 55 w 318"/>
                <a:gd name="T57" fmla="*/ 372 h 636"/>
                <a:gd name="T58" fmla="*/ 102 w 318"/>
                <a:gd name="T59" fmla="*/ 422 h 636"/>
                <a:gd name="T60" fmla="*/ 82 w 318"/>
                <a:gd name="T61" fmla="*/ 477 h 636"/>
                <a:gd name="T62" fmla="*/ 130 w 318"/>
                <a:gd name="T63" fmla="*/ 556 h 636"/>
                <a:gd name="T64" fmla="*/ 171 w 318"/>
                <a:gd name="T65" fmla="*/ 542 h 636"/>
                <a:gd name="T66" fmla="*/ 239 w 318"/>
                <a:gd name="T67" fmla="*/ 544 h 636"/>
                <a:gd name="T68" fmla="*/ 264 w 318"/>
                <a:gd name="T69" fmla="*/ 597 h 636"/>
                <a:gd name="T70" fmla="*/ 318 w 318"/>
                <a:gd name="T71" fmla="*/ 619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8" h="636">
                  <a:moveTo>
                    <a:pt x="318" y="636"/>
                  </a:moveTo>
                  <a:lnTo>
                    <a:pt x="283" y="636"/>
                  </a:lnTo>
                  <a:cubicBezTo>
                    <a:pt x="263" y="636"/>
                    <a:pt x="248" y="619"/>
                    <a:pt x="248" y="597"/>
                  </a:cubicBezTo>
                  <a:lnTo>
                    <a:pt x="248" y="580"/>
                  </a:lnTo>
                  <a:cubicBezTo>
                    <a:pt x="248" y="571"/>
                    <a:pt x="242" y="563"/>
                    <a:pt x="234" y="560"/>
                  </a:cubicBezTo>
                  <a:cubicBezTo>
                    <a:pt x="225" y="557"/>
                    <a:pt x="216" y="553"/>
                    <a:pt x="208" y="549"/>
                  </a:cubicBezTo>
                  <a:cubicBezTo>
                    <a:pt x="199" y="545"/>
                    <a:pt x="189" y="547"/>
                    <a:pt x="182" y="554"/>
                  </a:cubicBezTo>
                  <a:lnTo>
                    <a:pt x="169" y="567"/>
                  </a:lnTo>
                  <a:cubicBezTo>
                    <a:pt x="155" y="581"/>
                    <a:pt x="132" y="581"/>
                    <a:pt x="118" y="567"/>
                  </a:cubicBezTo>
                  <a:lnTo>
                    <a:pt x="69" y="518"/>
                  </a:lnTo>
                  <a:cubicBezTo>
                    <a:pt x="54" y="503"/>
                    <a:pt x="55" y="481"/>
                    <a:pt x="71" y="465"/>
                  </a:cubicBezTo>
                  <a:lnTo>
                    <a:pt x="83" y="453"/>
                  </a:lnTo>
                  <a:cubicBezTo>
                    <a:pt x="89" y="447"/>
                    <a:pt x="91" y="437"/>
                    <a:pt x="87" y="429"/>
                  </a:cubicBezTo>
                  <a:cubicBezTo>
                    <a:pt x="83" y="421"/>
                    <a:pt x="80" y="412"/>
                    <a:pt x="77" y="403"/>
                  </a:cubicBezTo>
                  <a:cubicBezTo>
                    <a:pt x="73" y="394"/>
                    <a:pt x="65" y="388"/>
                    <a:pt x="55" y="388"/>
                  </a:cubicBezTo>
                  <a:lnTo>
                    <a:pt x="36" y="388"/>
                  </a:lnTo>
                  <a:cubicBezTo>
                    <a:pt x="16" y="388"/>
                    <a:pt x="0" y="372"/>
                    <a:pt x="0" y="353"/>
                  </a:cubicBezTo>
                  <a:lnTo>
                    <a:pt x="0" y="282"/>
                  </a:lnTo>
                  <a:cubicBezTo>
                    <a:pt x="0" y="263"/>
                    <a:pt x="16" y="247"/>
                    <a:pt x="36" y="247"/>
                  </a:cubicBezTo>
                  <a:lnTo>
                    <a:pt x="55" y="247"/>
                  </a:lnTo>
                  <a:cubicBezTo>
                    <a:pt x="65" y="247"/>
                    <a:pt x="73" y="241"/>
                    <a:pt x="77" y="232"/>
                  </a:cubicBezTo>
                  <a:cubicBezTo>
                    <a:pt x="80" y="224"/>
                    <a:pt x="83" y="215"/>
                    <a:pt x="87" y="207"/>
                  </a:cubicBezTo>
                  <a:cubicBezTo>
                    <a:pt x="91" y="199"/>
                    <a:pt x="89" y="188"/>
                    <a:pt x="82" y="182"/>
                  </a:cubicBezTo>
                  <a:lnTo>
                    <a:pt x="69" y="168"/>
                  </a:lnTo>
                  <a:cubicBezTo>
                    <a:pt x="62" y="161"/>
                    <a:pt x="58" y="152"/>
                    <a:pt x="58" y="143"/>
                  </a:cubicBezTo>
                  <a:cubicBezTo>
                    <a:pt x="58" y="133"/>
                    <a:pt x="62" y="124"/>
                    <a:pt x="69" y="118"/>
                  </a:cubicBezTo>
                  <a:lnTo>
                    <a:pt x="118" y="68"/>
                  </a:lnTo>
                  <a:cubicBezTo>
                    <a:pt x="125" y="61"/>
                    <a:pt x="134" y="57"/>
                    <a:pt x="144" y="58"/>
                  </a:cubicBezTo>
                  <a:cubicBezTo>
                    <a:pt x="154" y="58"/>
                    <a:pt x="163" y="62"/>
                    <a:pt x="170" y="70"/>
                  </a:cubicBezTo>
                  <a:lnTo>
                    <a:pt x="183" y="82"/>
                  </a:lnTo>
                  <a:cubicBezTo>
                    <a:pt x="189" y="89"/>
                    <a:pt x="199" y="90"/>
                    <a:pt x="207" y="87"/>
                  </a:cubicBezTo>
                  <a:cubicBezTo>
                    <a:pt x="215" y="83"/>
                    <a:pt x="224" y="79"/>
                    <a:pt x="233" y="76"/>
                  </a:cubicBezTo>
                  <a:cubicBezTo>
                    <a:pt x="242" y="73"/>
                    <a:pt x="248" y="64"/>
                    <a:pt x="248" y="55"/>
                  </a:cubicBezTo>
                  <a:lnTo>
                    <a:pt x="248" y="35"/>
                  </a:lnTo>
                  <a:cubicBezTo>
                    <a:pt x="248" y="16"/>
                    <a:pt x="264" y="0"/>
                    <a:pt x="283" y="0"/>
                  </a:cubicBezTo>
                  <a:lnTo>
                    <a:pt x="318" y="0"/>
                  </a:lnTo>
                  <a:lnTo>
                    <a:pt x="318" y="16"/>
                  </a:lnTo>
                  <a:lnTo>
                    <a:pt x="283" y="16"/>
                  </a:lnTo>
                  <a:cubicBezTo>
                    <a:pt x="273" y="16"/>
                    <a:pt x="264" y="25"/>
                    <a:pt x="264" y="35"/>
                  </a:cubicBezTo>
                  <a:lnTo>
                    <a:pt x="264" y="55"/>
                  </a:lnTo>
                  <a:cubicBezTo>
                    <a:pt x="264" y="71"/>
                    <a:pt x="254" y="86"/>
                    <a:pt x="238" y="92"/>
                  </a:cubicBezTo>
                  <a:cubicBezTo>
                    <a:pt x="230" y="95"/>
                    <a:pt x="222" y="98"/>
                    <a:pt x="214" y="102"/>
                  </a:cubicBezTo>
                  <a:cubicBezTo>
                    <a:pt x="200" y="109"/>
                    <a:pt x="183" y="106"/>
                    <a:pt x="171" y="94"/>
                  </a:cubicBezTo>
                  <a:lnTo>
                    <a:pt x="159" y="82"/>
                  </a:lnTo>
                  <a:cubicBezTo>
                    <a:pt x="154" y="77"/>
                    <a:pt x="149" y="75"/>
                    <a:pt x="144" y="75"/>
                  </a:cubicBezTo>
                  <a:cubicBezTo>
                    <a:pt x="139" y="74"/>
                    <a:pt x="134" y="76"/>
                    <a:pt x="130" y="80"/>
                  </a:cubicBezTo>
                  <a:lnTo>
                    <a:pt x="80" y="130"/>
                  </a:lnTo>
                  <a:cubicBezTo>
                    <a:pt x="77" y="133"/>
                    <a:pt x="75" y="138"/>
                    <a:pt x="75" y="143"/>
                  </a:cubicBezTo>
                  <a:cubicBezTo>
                    <a:pt x="75" y="148"/>
                    <a:pt x="77" y="153"/>
                    <a:pt x="80" y="156"/>
                  </a:cubicBezTo>
                  <a:lnTo>
                    <a:pt x="94" y="170"/>
                  </a:lnTo>
                  <a:cubicBezTo>
                    <a:pt x="106" y="182"/>
                    <a:pt x="109" y="199"/>
                    <a:pt x="102" y="214"/>
                  </a:cubicBezTo>
                  <a:cubicBezTo>
                    <a:pt x="98" y="222"/>
                    <a:pt x="95" y="230"/>
                    <a:pt x="92" y="238"/>
                  </a:cubicBezTo>
                  <a:cubicBezTo>
                    <a:pt x="87" y="253"/>
                    <a:pt x="72" y="264"/>
                    <a:pt x="55" y="264"/>
                  </a:cubicBezTo>
                  <a:lnTo>
                    <a:pt x="36" y="264"/>
                  </a:lnTo>
                  <a:cubicBezTo>
                    <a:pt x="26" y="264"/>
                    <a:pt x="17" y="272"/>
                    <a:pt x="17" y="282"/>
                  </a:cubicBezTo>
                  <a:lnTo>
                    <a:pt x="17" y="353"/>
                  </a:lnTo>
                  <a:cubicBezTo>
                    <a:pt x="17" y="363"/>
                    <a:pt x="26" y="372"/>
                    <a:pt x="36" y="372"/>
                  </a:cubicBezTo>
                  <a:lnTo>
                    <a:pt x="55" y="372"/>
                  </a:lnTo>
                  <a:cubicBezTo>
                    <a:pt x="72" y="372"/>
                    <a:pt x="87" y="382"/>
                    <a:pt x="92" y="398"/>
                  </a:cubicBezTo>
                  <a:cubicBezTo>
                    <a:pt x="95" y="406"/>
                    <a:pt x="99" y="414"/>
                    <a:pt x="102" y="422"/>
                  </a:cubicBezTo>
                  <a:cubicBezTo>
                    <a:pt x="109" y="436"/>
                    <a:pt x="106" y="453"/>
                    <a:pt x="95" y="465"/>
                  </a:cubicBezTo>
                  <a:lnTo>
                    <a:pt x="82" y="477"/>
                  </a:lnTo>
                  <a:cubicBezTo>
                    <a:pt x="74" y="486"/>
                    <a:pt x="73" y="498"/>
                    <a:pt x="80" y="506"/>
                  </a:cubicBezTo>
                  <a:lnTo>
                    <a:pt x="130" y="556"/>
                  </a:lnTo>
                  <a:cubicBezTo>
                    <a:pt x="138" y="563"/>
                    <a:pt x="150" y="563"/>
                    <a:pt x="157" y="556"/>
                  </a:cubicBezTo>
                  <a:lnTo>
                    <a:pt x="171" y="542"/>
                  </a:lnTo>
                  <a:cubicBezTo>
                    <a:pt x="182" y="530"/>
                    <a:pt x="200" y="527"/>
                    <a:pt x="215" y="534"/>
                  </a:cubicBezTo>
                  <a:cubicBezTo>
                    <a:pt x="223" y="538"/>
                    <a:pt x="231" y="541"/>
                    <a:pt x="239" y="544"/>
                  </a:cubicBezTo>
                  <a:cubicBezTo>
                    <a:pt x="254" y="549"/>
                    <a:pt x="264" y="564"/>
                    <a:pt x="264" y="580"/>
                  </a:cubicBezTo>
                  <a:lnTo>
                    <a:pt x="264" y="597"/>
                  </a:lnTo>
                  <a:cubicBezTo>
                    <a:pt x="264" y="610"/>
                    <a:pt x="272" y="619"/>
                    <a:pt x="283" y="619"/>
                  </a:cubicBezTo>
                  <a:lnTo>
                    <a:pt x="318" y="619"/>
                  </a:lnTo>
                  <a:lnTo>
                    <a:pt x="318" y="636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49" name="Freeform 435">
              <a:extLst>
                <a:ext uri="{FF2B5EF4-FFF2-40B4-BE49-F238E27FC236}">
                  <a16:creationId xmlns:a16="http://schemas.microsoft.com/office/drawing/2014/main" id="{9E7978B0-9363-4C4E-B3A5-A27339C17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6720" y="8721481"/>
              <a:ext cx="116007" cy="54324"/>
            </a:xfrm>
            <a:custGeom>
              <a:avLst/>
              <a:gdLst>
                <a:gd name="T0" fmla="*/ 297 w 297"/>
                <a:gd name="T1" fmla="*/ 149 h 149"/>
                <a:gd name="T2" fmla="*/ 281 w 297"/>
                <a:gd name="T3" fmla="*/ 149 h 149"/>
                <a:gd name="T4" fmla="*/ 149 w 297"/>
                <a:gd name="T5" fmla="*/ 17 h 149"/>
                <a:gd name="T6" fmla="*/ 17 w 297"/>
                <a:gd name="T7" fmla="*/ 149 h 149"/>
                <a:gd name="T8" fmla="*/ 0 w 297"/>
                <a:gd name="T9" fmla="*/ 149 h 149"/>
                <a:gd name="T10" fmla="*/ 149 w 297"/>
                <a:gd name="T11" fmla="*/ 0 h 149"/>
                <a:gd name="T12" fmla="*/ 297 w 297"/>
                <a:gd name="T1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49">
                  <a:moveTo>
                    <a:pt x="297" y="149"/>
                  </a:moveTo>
                  <a:lnTo>
                    <a:pt x="281" y="149"/>
                  </a:lnTo>
                  <a:cubicBezTo>
                    <a:pt x="281" y="76"/>
                    <a:pt x="221" y="17"/>
                    <a:pt x="149" y="17"/>
                  </a:cubicBezTo>
                  <a:cubicBezTo>
                    <a:pt x="76" y="17"/>
                    <a:pt x="17" y="76"/>
                    <a:pt x="17" y="149"/>
                  </a:cubicBezTo>
                  <a:lnTo>
                    <a:pt x="0" y="149"/>
                  </a:lnTo>
                  <a:cubicBezTo>
                    <a:pt x="0" y="67"/>
                    <a:pt x="67" y="0"/>
                    <a:pt x="149" y="0"/>
                  </a:cubicBezTo>
                  <a:cubicBezTo>
                    <a:pt x="231" y="0"/>
                    <a:pt x="297" y="67"/>
                    <a:pt x="297" y="149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50" name="Freeform 436">
              <a:extLst>
                <a:ext uri="{FF2B5EF4-FFF2-40B4-BE49-F238E27FC236}">
                  <a16:creationId xmlns:a16="http://schemas.microsoft.com/office/drawing/2014/main" id="{A4E59946-EADF-944F-E129-5565ACB54E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0431" y="8659396"/>
              <a:ext cx="248587" cy="116409"/>
            </a:xfrm>
            <a:custGeom>
              <a:avLst/>
              <a:gdLst>
                <a:gd name="T0" fmla="*/ 619 w 636"/>
                <a:gd name="T1" fmla="*/ 318 h 318"/>
                <a:gd name="T2" fmla="*/ 600 w 636"/>
                <a:gd name="T3" fmla="*/ 264 h 318"/>
                <a:gd name="T4" fmla="*/ 544 w 636"/>
                <a:gd name="T5" fmla="*/ 238 h 318"/>
                <a:gd name="T6" fmla="*/ 541 w 636"/>
                <a:gd name="T7" fmla="*/ 171 h 318"/>
                <a:gd name="T8" fmla="*/ 556 w 636"/>
                <a:gd name="T9" fmla="*/ 130 h 318"/>
                <a:gd name="T10" fmla="*/ 479 w 636"/>
                <a:gd name="T11" fmla="*/ 80 h 318"/>
                <a:gd name="T12" fmla="*/ 421 w 636"/>
                <a:gd name="T13" fmla="*/ 102 h 318"/>
                <a:gd name="T14" fmla="*/ 372 w 636"/>
                <a:gd name="T15" fmla="*/ 55 h 318"/>
                <a:gd name="T16" fmla="*/ 353 w 636"/>
                <a:gd name="T17" fmla="*/ 17 h 318"/>
                <a:gd name="T18" fmla="*/ 264 w 636"/>
                <a:gd name="T19" fmla="*/ 36 h 318"/>
                <a:gd name="T20" fmla="*/ 238 w 636"/>
                <a:gd name="T21" fmla="*/ 92 h 318"/>
                <a:gd name="T22" fmla="*/ 171 w 636"/>
                <a:gd name="T23" fmla="*/ 94 h 318"/>
                <a:gd name="T24" fmla="*/ 143 w 636"/>
                <a:gd name="T25" fmla="*/ 75 h 318"/>
                <a:gd name="T26" fmla="*/ 80 w 636"/>
                <a:gd name="T27" fmla="*/ 130 h 318"/>
                <a:gd name="T28" fmla="*/ 94 w 636"/>
                <a:gd name="T29" fmla="*/ 170 h 318"/>
                <a:gd name="T30" fmla="*/ 91 w 636"/>
                <a:gd name="T31" fmla="*/ 239 h 318"/>
                <a:gd name="T32" fmla="*/ 38 w 636"/>
                <a:gd name="T33" fmla="*/ 264 h 318"/>
                <a:gd name="T34" fmla="*/ 17 w 636"/>
                <a:gd name="T35" fmla="*/ 318 h 318"/>
                <a:gd name="T36" fmla="*/ 0 w 636"/>
                <a:gd name="T37" fmla="*/ 283 h 318"/>
                <a:gd name="T38" fmla="*/ 56 w 636"/>
                <a:gd name="T39" fmla="*/ 247 h 318"/>
                <a:gd name="T40" fmla="*/ 86 w 636"/>
                <a:gd name="T41" fmla="*/ 207 h 318"/>
                <a:gd name="T42" fmla="*/ 68 w 636"/>
                <a:gd name="T43" fmla="*/ 168 h 318"/>
                <a:gd name="T44" fmla="*/ 68 w 636"/>
                <a:gd name="T45" fmla="*/ 118 h 318"/>
                <a:gd name="T46" fmla="*/ 144 w 636"/>
                <a:gd name="T47" fmla="*/ 58 h 318"/>
                <a:gd name="T48" fmla="*/ 183 w 636"/>
                <a:gd name="T49" fmla="*/ 83 h 318"/>
                <a:gd name="T50" fmla="*/ 232 w 636"/>
                <a:gd name="T51" fmla="*/ 76 h 318"/>
                <a:gd name="T52" fmla="*/ 247 w 636"/>
                <a:gd name="T53" fmla="*/ 36 h 318"/>
                <a:gd name="T54" fmla="*/ 353 w 636"/>
                <a:gd name="T55" fmla="*/ 0 h 318"/>
                <a:gd name="T56" fmla="*/ 389 w 636"/>
                <a:gd name="T57" fmla="*/ 55 h 318"/>
                <a:gd name="T58" fmla="*/ 428 w 636"/>
                <a:gd name="T59" fmla="*/ 87 h 318"/>
                <a:gd name="T60" fmla="*/ 467 w 636"/>
                <a:gd name="T61" fmla="*/ 68 h 318"/>
                <a:gd name="T62" fmla="*/ 567 w 636"/>
                <a:gd name="T63" fmla="*/ 118 h 318"/>
                <a:gd name="T64" fmla="*/ 553 w 636"/>
                <a:gd name="T65" fmla="*/ 183 h 318"/>
                <a:gd name="T66" fmla="*/ 560 w 636"/>
                <a:gd name="T67" fmla="*/ 232 h 318"/>
                <a:gd name="T68" fmla="*/ 600 w 636"/>
                <a:gd name="T69" fmla="*/ 247 h 318"/>
                <a:gd name="T70" fmla="*/ 636 w 636"/>
                <a:gd name="T71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6" h="318">
                  <a:moveTo>
                    <a:pt x="636" y="318"/>
                  </a:moveTo>
                  <a:lnTo>
                    <a:pt x="619" y="318"/>
                  </a:lnTo>
                  <a:lnTo>
                    <a:pt x="619" y="283"/>
                  </a:lnTo>
                  <a:cubicBezTo>
                    <a:pt x="619" y="272"/>
                    <a:pt x="611" y="264"/>
                    <a:pt x="600" y="264"/>
                  </a:cubicBezTo>
                  <a:lnTo>
                    <a:pt x="581" y="264"/>
                  </a:lnTo>
                  <a:cubicBezTo>
                    <a:pt x="564" y="264"/>
                    <a:pt x="549" y="253"/>
                    <a:pt x="544" y="238"/>
                  </a:cubicBezTo>
                  <a:cubicBezTo>
                    <a:pt x="541" y="230"/>
                    <a:pt x="538" y="221"/>
                    <a:pt x="534" y="214"/>
                  </a:cubicBezTo>
                  <a:cubicBezTo>
                    <a:pt x="527" y="199"/>
                    <a:pt x="530" y="182"/>
                    <a:pt x="541" y="171"/>
                  </a:cubicBezTo>
                  <a:lnTo>
                    <a:pt x="554" y="158"/>
                  </a:lnTo>
                  <a:cubicBezTo>
                    <a:pt x="563" y="149"/>
                    <a:pt x="563" y="137"/>
                    <a:pt x="556" y="130"/>
                  </a:cubicBezTo>
                  <a:lnTo>
                    <a:pt x="506" y="80"/>
                  </a:lnTo>
                  <a:cubicBezTo>
                    <a:pt x="499" y="73"/>
                    <a:pt x="486" y="73"/>
                    <a:pt x="479" y="80"/>
                  </a:cubicBezTo>
                  <a:lnTo>
                    <a:pt x="466" y="94"/>
                  </a:lnTo>
                  <a:cubicBezTo>
                    <a:pt x="454" y="105"/>
                    <a:pt x="436" y="109"/>
                    <a:pt x="421" y="102"/>
                  </a:cubicBezTo>
                  <a:cubicBezTo>
                    <a:pt x="414" y="98"/>
                    <a:pt x="406" y="95"/>
                    <a:pt x="398" y="92"/>
                  </a:cubicBezTo>
                  <a:cubicBezTo>
                    <a:pt x="382" y="86"/>
                    <a:pt x="372" y="72"/>
                    <a:pt x="372" y="55"/>
                  </a:cubicBezTo>
                  <a:lnTo>
                    <a:pt x="372" y="36"/>
                  </a:lnTo>
                  <a:cubicBezTo>
                    <a:pt x="372" y="25"/>
                    <a:pt x="363" y="17"/>
                    <a:pt x="353" y="17"/>
                  </a:cubicBezTo>
                  <a:lnTo>
                    <a:pt x="283" y="17"/>
                  </a:lnTo>
                  <a:cubicBezTo>
                    <a:pt x="272" y="17"/>
                    <a:pt x="264" y="25"/>
                    <a:pt x="264" y="36"/>
                  </a:cubicBezTo>
                  <a:lnTo>
                    <a:pt x="264" y="55"/>
                  </a:lnTo>
                  <a:cubicBezTo>
                    <a:pt x="264" y="72"/>
                    <a:pt x="253" y="86"/>
                    <a:pt x="238" y="92"/>
                  </a:cubicBezTo>
                  <a:cubicBezTo>
                    <a:pt x="230" y="95"/>
                    <a:pt x="221" y="98"/>
                    <a:pt x="214" y="102"/>
                  </a:cubicBezTo>
                  <a:cubicBezTo>
                    <a:pt x="199" y="109"/>
                    <a:pt x="182" y="106"/>
                    <a:pt x="171" y="94"/>
                  </a:cubicBezTo>
                  <a:lnTo>
                    <a:pt x="158" y="82"/>
                  </a:lnTo>
                  <a:cubicBezTo>
                    <a:pt x="154" y="77"/>
                    <a:pt x="148" y="75"/>
                    <a:pt x="143" y="75"/>
                  </a:cubicBezTo>
                  <a:cubicBezTo>
                    <a:pt x="138" y="74"/>
                    <a:pt x="133" y="76"/>
                    <a:pt x="130" y="80"/>
                  </a:cubicBezTo>
                  <a:lnTo>
                    <a:pt x="80" y="130"/>
                  </a:lnTo>
                  <a:cubicBezTo>
                    <a:pt x="73" y="137"/>
                    <a:pt x="73" y="149"/>
                    <a:pt x="80" y="156"/>
                  </a:cubicBezTo>
                  <a:lnTo>
                    <a:pt x="94" y="170"/>
                  </a:lnTo>
                  <a:cubicBezTo>
                    <a:pt x="105" y="182"/>
                    <a:pt x="109" y="200"/>
                    <a:pt x="101" y="214"/>
                  </a:cubicBezTo>
                  <a:cubicBezTo>
                    <a:pt x="98" y="222"/>
                    <a:pt x="94" y="231"/>
                    <a:pt x="91" y="239"/>
                  </a:cubicBezTo>
                  <a:cubicBezTo>
                    <a:pt x="86" y="254"/>
                    <a:pt x="72" y="264"/>
                    <a:pt x="56" y="264"/>
                  </a:cubicBezTo>
                  <a:lnTo>
                    <a:pt x="38" y="264"/>
                  </a:lnTo>
                  <a:cubicBezTo>
                    <a:pt x="26" y="264"/>
                    <a:pt x="17" y="272"/>
                    <a:pt x="17" y="283"/>
                  </a:cubicBezTo>
                  <a:lnTo>
                    <a:pt x="17" y="318"/>
                  </a:lnTo>
                  <a:lnTo>
                    <a:pt x="0" y="318"/>
                  </a:lnTo>
                  <a:lnTo>
                    <a:pt x="0" y="283"/>
                  </a:lnTo>
                  <a:cubicBezTo>
                    <a:pt x="0" y="262"/>
                    <a:pt x="16" y="247"/>
                    <a:pt x="38" y="247"/>
                  </a:cubicBezTo>
                  <a:lnTo>
                    <a:pt x="56" y="247"/>
                  </a:lnTo>
                  <a:cubicBezTo>
                    <a:pt x="65" y="247"/>
                    <a:pt x="73" y="242"/>
                    <a:pt x="76" y="233"/>
                  </a:cubicBezTo>
                  <a:cubicBezTo>
                    <a:pt x="79" y="225"/>
                    <a:pt x="82" y="216"/>
                    <a:pt x="86" y="207"/>
                  </a:cubicBezTo>
                  <a:cubicBezTo>
                    <a:pt x="90" y="199"/>
                    <a:pt x="89" y="189"/>
                    <a:pt x="82" y="182"/>
                  </a:cubicBezTo>
                  <a:lnTo>
                    <a:pt x="68" y="168"/>
                  </a:lnTo>
                  <a:cubicBezTo>
                    <a:pt x="61" y="162"/>
                    <a:pt x="58" y="153"/>
                    <a:pt x="58" y="143"/>
                  </a:cubicBezTo>
                  <a:cubicBezTo>
                    <a:pt x="58" y="134"/>
                    <a:pt x="61" y="125"/>
                    <a:pt x="68" y="118"/>
                  </a:cubicBezTo>
                  <a:lnTo>
                    <a:pt x="118" y="68"/>
                  </a:lnTo>
                  <a:cubicBezTo>
                    <a:pt x="125" y="61"/>
                    <a:pt x="133" y="58"/>
                    <a:pt x="144" y="58"/>
                  </a:cubicBezTo>
                  <a:cubicBezTo>
                    <a:pt x="153" y="58"/>
                    <a:pt x="163" y="63"/>
                    <a:pt x="170" y="70"/>
                  </a:cubicBezTo>
                  <a:lnTo>
                    <a:pt x="183" y="83"/>
                  </a:lnTo>
                  <a:cubicBezTo>
                    <a:pt x="189" y="89"/>
                    <a:pt x="198" y="91"/>
                    <a:pt x="206" y="87"/>
                  </a:cubicBezTo>
                  <a:cubicBezTo>
                    <a:pt x="215" y="83"/>
                    <a:pt x="223" y="79"/>
                    <a:pt x="232" y="76"/>
                  </a:cubicBezTo>
                  <a:cubicBezTo>
                    <a:pt x="241" y="73"/>
                    <a:pt x="247" y="64"/>
                    <a:pt x="247" y="55"/>
                  </a:cubicBezTo>
                  <a:lnTo>
                    <a:pt x="247" y="36"/>
                  </a:lnTo>
                  <a:cubicBezTo>
                    <a:pt x="247" y="16"/>
                    <a:pt x="263" y="0"/>
                    <a:pt x="283" y="0"/>
                  </a:cubicBezTo>
                  <a:lnTo>
                    <a:pt x="353" y="0"/>
                  </a:lnTo>
                  <a:cubicBezTo>
                    <a:pt x="373" y="0"/>
                    <a:pt x="389" y="16"/>
                    <a:pt x="389" y="36"/>
                  </a:cubicBezTo>
                  <a:lnTo>
                    <a:pt x="389" y="55"/>
                  </a:lnTo>
                  <a:cubicBezTo>
                    <a:pt x="389" y="64"/>
                    <a:pt x="394" y="73"/>
                    <a:pt x="403" y="76"/>
                  </a:cubicBezTo>
                  <a:cubicBezTo>
                    <a:pt x="412" y="79"/>
                    <a:pt x="420" y="83"/>
                    <a:pt x="428" y="87"/>
                  </a:cubicBezTo>
                  <a:cubicBezTo>
                    <a:pt x="437" y="91"/>
                    <a:pt x="447" y="89"/>
                    <a:pt x="454" y="82"/>
                  </a:cubicBezTo>
                  <a:lnTo>
                    <a:pt x="467" y="68"/>
                  </a:lnTo>
                  <a:cubicBezTo>
                    <a:pt x="481" y="55"/>
                    <a:pt x="504" y="55"/>
                    <a:pt x="518" y="68"/>
                  </a:cubicBezTo>
                  <a:lnTo>
                    <a:pt x="567" y="118"/>
                  </a:lnTo>
                  <a:cubicBezTo>
                    <a:pt x="582" y="132"/>
                    <a:pt x="581" y="155"/>
                    <a:pt x="566" y="170"/>
                  </a:cubicBezTo>
                  <a:lnTo>
                    <a:pt x="553" y="183"/>
                  </a:lnTo>
                  <a:cubicBezTo>
                    <a:pt x="547" y="189"/>
                    <a:pt x="545" y="199"/>
                    <a:pt x="549" y="206"/>
                  </a:cubicBezTo>
                  <a:cubicBezTo>
                    <a:pt x="553" y="215"/>
                    <a:pt x="556" y="224"/>
                    <a:pt x="560" y="232"/>
                  </a:cubicBezTo>
                  <a:cubicBezTo>
                    <a:pt x="563" y="241"/>
                    <a:pt x="571" y="247"/>
                    <a:pt x="581" y="247"/>
                  </a:cubicBezTo>
                  <a:lnTo>
                    <a:pt x="600" y="247"/>
                  </a:lnTo>
                  <a:cubicBezTo>
                    <a:pt x="620" y="247"/>
                    <a:pt x="636" y="263"/>
                    <a:pt x="636" y="283"/>
                  </a:cubicBezTo>
                  <a:lnTo>
                    <a:pt x="636" y="318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51" name="Freeform 437">
              <a:extLst>
                <a:ext uri="{FF2B5EF4-FFF2-40B4-BE49-F238E27FC236}">
                  <a16:creationId xmlns:a16="http://schemas.microsoft.com/office/drawing/2014/main" id="{A257283A-05F9-2AB5-D295-5917EE9979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6392" y="8463658"/>
              <a:ext cx="446536" cy="309561"/>
            </a:xfrm>
            <a:custGeom>
              <a:avLst/>
              <a:gdLst>
                <a:gd name="T0" fmla="*/ 17 w 1143"/>
                <a:gd name="T1" fmla="*/ 96 h 844"/>
                <a:gd name="T2" fmla="*/ 17 w 1143"/>
                <a:gd name="T3" fmla="*/ 775 h 844"/>
                <a:gd name="T4" fmla="*/ 69 w 1143"/>
                <a:gd name="T5" fmla="*/ 827 h 844"/>
                <a:gd name="T6" fmla="*/ 122 w 1143"/>
                <a:gd name="T7" fmla="*/ 775 h 844"/>
                <a:gd name="T8" fmla="*/ 122 w 1143"/>
                <a:gd name="T9" fmla="*/ 96 h 844"/>
                <a:gd name="T10" fmla="*/ 17 w 1143"/>
                <a:gd name="T11" fmla="*/ 96 h 844"/>
                <a:gd name="T12" fmla="*/ 69 w 1143"/>
                <a:gd name="T13" fmla="*/ 844 h 844"/>
                <a:gd name="T14" fmla="*/ 0 w 1143"/>
                <a:gd name="T15" fmla="*/ 775 h 844"/>
                <a:gd name="T16" fmla="*/ 0 w 1143"/>
                <a:gd name="T17" fmla="*/ 80 h 844"/>
                <a:gd name="T18" fmla="*/ 122 w 1143"/>
                <a:gd name="T19" fmla="*/ 80 h 844"/>
                <a:gd name="T20" fmla="*/ 122 w 1143"/>
                <a:gd name="T21" fmla="*/ 0 h 844"/>
                <a:gd name="T22" fmla="*/ 455 w 1143"/>
                <a:gd name="T23" fmla="*/ 0 h 844"/>
                <a:gd name="T24" fmla="*/ 525 w 1143"/>
                <a:gd name="T25" fmla="*/ 98 h 844"/>
                <a:gd name="T26" fmla="*/ 1143 w 1143"/>
                <a:gd name="T27" fmla="*/ 98 h 844"/>
                <a:gd name="T28" fmla="*/ 1143 w 1143"/>
                <a:gd name="T29" fmla="*/ 150 h 844"/>
                <a:gd name="T30" fmla="*/ 1126 w 1143"/>
                <a:gd name="T31" fmla="*/ 150 h 844"/>
                <a:gd name="T32" fmla="*/ 1126 w 1143"/>
                <a:gd name="T33" fmla="*/ 114 h 844"/>
                <a:gd name="T34" fmla="*/ 516 w 1143"/>
                <a:gd name="T35" fmla="*/ 114 h 844"/>
                <a:gd name="T36" fmla="*/ 447 w 1143"/>
                <a:gd name="T37" fmla="*/ 17 h 844"/>
                <a:gd name="T38" fmla="*/ 138 w 1143"/>
                <a:gd name="T39" fmla="*/ 17 h 844"/>
                <a:gd name="T40" fmla="*/ 138 w 1143"/>
                <a:gd name="T41" fmla="*/ 775 h 844"/>
                <a:gd name="T42" fmla="*/ 69 w 1143"/>
                <a:gd name="T43" fmla="*/ 844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3" h="844">
                  <a:moveTo>
                    <a:pt x="17" y="96"/>
                  </a:moveTo>
                  <a:lnTo>
                    <a:pt x="17" y="775"/>
                  </a:lnTo>
                  <a:cubicBezTo>
                    <a:pt x="17" y="804"/>
                    <a:pt x="40" y="827"/>
                    <a:pt x="69" y="827"/>
                  </a:cubicBezTo>
                  <a:cubicBezTo>
                    <a:pt x="98" y="827"/>
                    <a:pt x="122" y="804"/>
                    <a:pt x="122" y="775"/>
                  </a:cubicBezTo>
                  <a:lnTo>
                    <a:pt x="122" y="96"/>
                  </a:lnTo>
                  <a:lnTo>
                    <a:pt x="17" y="96"/>
                  </a:lnTo>
                  <a:close/>
                  <a:moveTo>
                    <a:pt x="69" y="844"/>
                  </a:moveTo>
                  <a:cubicBezTo>
                    <a:pt x="31" y="844"/>
                    <a:pt x="0" y="813"/>
                    <a:pt x="0" y="775"/>
                  </a:cubicBezTo>
                  <a:lnTo>
                    <a:pt x="0" y="80"/>
                  </a:lnTo>
                  <a:lnTo>
                    <a:pt x="122" y="80"/>
                  </a:lnTo>
                  <a:lnTo>
                    <a:pt x="122" y="0"/>
                  </a:lnTo>
                  <a:lnTo>
                    <a:pt x="455" y="0"/>
                  </a:lnTo>
                  <a:lnTo>
                    <a:pt x="525" y="98"/>
                  </a:lnTo>
                  <a:lnTo>
                    <a:pt x="1143" y="98"/>
                  </a:lnTo>
                  <a:lnTo>
                    <a:pt x="1143" y="150"/>
                  </a:lnTo>
                  <a:lnTo>
                    <a:pt x="1126" y="150"/>
                  </a:lnTo>
                  <a:lnTo>
                    <a:pt x="1126" y="114"/>
                  </a:lnTo>
                  <a:lnTo>
                    <a:pt x="516" y="114"/>
                  </a:lnTo>
                  <a:lnTo>
                    <a:pt x="447" y="17"/>
                  </a:lnTo>
                  <a:lnTo>
                    <a:pt x="138" y="17"/>
                  </a:lnTo>
                  <a:lnTo>
                    <a:pt x="138" y="775"/>
                  </a:lnTo>
                  <a:cubicBezTo>
                    <a:pt x="138" y="813"/>
                    <a:pt x="107" y="844"/>
                    <a:pt x="69" y="844"/>
                  </a:cubicBez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52" name="Freeform 438">
              <a:extLst>
                <a:ext uri="{FF2B5EF4-FFF2-40B4-BE49-F238E27FC236}">
                  <a16:creationId xmlns:a16="http://schemas.microsoft.com/office/drawing/2014/main" id="{41B9B8C3-56CC-3401-B02B-C7971477C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9254" y="8410196"/>
              <a:ext cx="334212" cy="92265"/>
            </a:xfrm>
            <a:custGeom>
              <a:avLst/>
              <a:gdLst>
                <a:gd name="T0" fmla="*/ 363 w 363"/>
                <a:gd name="T1" fmla="*/ 107 h 107"/>
                <a:gd name="T2" fmla="*/ 355 w 363"/>
                <a:gd name="T3" fmla="*/ 107 h 107"/>
                <a:gd name="T4" fmla="*/ 355 w 363"/>
                <a:gd name="T5" fmla="*/ 7 h 107"/>
                <a:gd name="T6" fmla="*/ 8 w 363"/>
                <a:gd name="T7" fmla="*/ 7 h 107"/>
                <a:gd name="T8" fmla="*/ 8 w 363"/>
                <a:gd name="T9" fmla="*/ 65 h 107"/>
                <a:gd name="T10" fmla="*/ 0 w 363"/>
                <a:gd name="T11" fmla="*/ 65 h 107"/>
                <a:gd name="T12" fmla="*/ 0 w 363"/>
                <a:gd name="T13" fmla="*/ 0 h 107"/>
                <a:gd name="T14" fmla="*/ 363 w 363"/>
                <a:gd name="T15" fmla="*/ 0 h 107"/>
                <a:gd name="T16" fmla="*/ 363 w 363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107">
                  <a:moveTo>
                    <a:pt x="363" y="107"/>
                  </a:moveTo>
                  <a:lnTo>
                    <a:pt x="355" y="107"/>
                  </a:lnTo>
                  <a:lnTo>
                    <a:pt x="355" y="7"/>
                  </a:lnTo>
                  <a:lnTo>
                    <a:pt x="8" y="7"/>
                  </a:lnTo>
                  <a:lnTo>
                    <a:pt x="8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63" y="0"/>
                  </a:lnTo>
                  <a:lnTo>
                    <a:pt x="363" y="10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53" name="Rectangle 439">
              <a:extLst>
                <a:ext uri="{FF2B5EF4-FFF2-40B4-BE49-F238E27FC236}">
                  <a16:creationId xmlns:a16="http://schemas.microsoft.com/office/drawing/2014/main" id="{7E552F50-72A6-26D9-B978-7AD3478F4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3092" y="8766320"/>
              <a:ext cx="58924" cy="6898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4CDE12A0-2B4F-E80C-42AC-243D92BED862}"/>
              </a:ext>
            </a:extLst>
          </p:cNvPr>
          <p:cNvSpPr txBox="1"/>
          <p:nvPr/>
        </p:nvSpPr>
        <p:spPr>
          <a:xfrm>
            <a:off x="7272289" y="2593721"/>
            <a:ext cx="337357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1">
              <a:defRPr/>
            </a:pP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d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%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mand covered</a:t>
            </a:r>
            <a:endParaRPr kumimoji="0" lang="ar-SA" sz="240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: Top Corners Rounded 54">
            <a:extLst>
              <a:ext uri="{FF2B5EF4-FFF2-40B4-BE49-F238E27FC236}">
                <a16:creationId xmlns:a16="http://schemas.microsoft.com/office/drawing/2014/main" id="{488353BE-C659-46EF-FCC9-5196766EAF58}"/>
              </a:ext>
            </a:extLst>
          </p:cNvPr>
          <p:cNvSpPr/>
          <p:nvPr/>
        </p:nvSpPr>
        <p:spPr>
          <a:xfrm rot="16200000" flipV="1">
            <a:off x="6637207" y="2574648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B7ABAABE-51FA-9A59-9A8E-215BE06B5268}"/>
              </a:ext>
            </a:extLst>
          </p:cNvPr>
          <p:cNvSpPr/>
          <p:nvPr/>
        </p:nvSpPr>
        <p:spPr>
          <a:xfrm>
            <a:off x="6686234" y="2642987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Graphic 56" descr="Earth Globe - Asia with solid fill">
            <a:extLst>
              <a:ext uri="{FF2B5EF4-FFF2-40B4-BE49-F238E27FC236}">
                <a16:creationId xmlns:a16="http://schemas.microsoft.com/office/drawing/2014/main" id="{2E6DDBBB-ADB7-B4DA-947B-53AC340DB5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93397" y="2659222"/>
            <a:ext cx="422676" cy="422676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5884EDD4-35F4-8D3D-8ECF-41B62733BA17}"/>
              </a:ext>
            </a:extLst>
          </p:cNvPr>
          <p:cNvSpPr txBox="1"/>
          <p:nvPr/>
        </p:nvSpPr>
        <p:spPr>
          <a:xfrm>
            <a:off x="7230403" y="3646594"/>
            <a:ext cx="303053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s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</a:t>
            </a:r>
            <a:r>
              <a:rPr lang="en-US" sz="28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6</a:t>
            </a:r>
            <a:r>
              <a:rPr lang="en-US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covered 91% of the worker's flow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Medium skill)</a:t>
            </a:r>
            <a:endParaRPr lang="ar-SA" sz="105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: Top Corners Rounded 58">
            <a:extLst>
              <a:ext uri="{FF2B5EF4-FFF2-40B4-BE49-F238E27FC236}">
                <a16:creationId xmlns:a16="http://schemas.microsoft.com/office/drawing/2014/main" id="{A42C499E-6474-215C-600B-A11142A4017C}"/>
              </a:ext>
            </a:extLst>
          </p:cNvPr>
          <p:cNvSpPr/>
          <p:nvPr/>
        </p:nvSpPr>
        <p:spPr>
          <a:xfrm rot="16200000" flipV="1">
            <a:off x="6635383" y="3644731"/>
            <a:ext cx="565960" cy="60014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8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1A6E678-4427-C2B1-2808-E4D3F05BDAB3}"/>
              </a:ext>
            </a:extLst>
          </p:cNvPr>
          <p:cNvSpPr/>
          <p:nvPr/>
        </p:nvSpPr>
        <p:spPr>
          <a:xfrm>
            <a:off x="6684410" y="3713070"/>
            <a:ext cx="422676" cy="43587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eaLnBrk="1" latinLnBrk="0" hangingPunct="1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8FC194F-867C-A57C-32EC-DA7302683D0E}"/>
              </a:ext>
            </a:extLst>
          </p:cNvPr>
          <p:cNvGrpSpPr/>
          <p:nvPr/>
        </p:nvGrpSpPr>
        <p:grpSpPr>
          <a:xfrm>
            <a:off x="6743695" y="3765131"/>
            <a:ext cx="292607" cy="303484"/>
            <a:chOff x="10216392" y="8410196"/>
            <a:chExt cx="450219" cy="365609"/>
          </a:xfrm>
        </p:grpSpPr>
        <p:sp>
          <p:nvSpPr>
            <p:cNvPr id="62" name="Freeform 425">
              <a:extLst>
                <a:ext uri="{FF2B5EF4-FFF2-40B4-BE49-F238E27FC236}">
                  <a16:creationId xmlns:a16="http://schemas.microsoft.com/office/drawing/2014/main" id="{04251B1F-8E7F-AD1B-BF31-8E1767BEF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9154" y="8495562"/>
              <a:ext cx="47876" cy="274207"/>
            </a:xfrm>
            <a:custGeom>
              <a:avLst/>
              <a:gdLst>
                <a:gd name="T0" fmla="*/ 65 w 122"/>
                <a:gd name="T1" fmla="*/ 748 h 748"/>
                <a:gd name="T2" fmla="*/ 65 w 122"/>
                <a:gd name="T3" fmla="*/ 748 h 748"/>
                <a:gd name="T4" fmla="*/ 0 w 122"/>
                <a:gd name="T5" fmla="*/ 683 h 748"/>
                <a:gd name="T6" fmla="*/ 0 w 122"/>
                <a:gd name="T7" fmla="*/ 0 h 748"/>
                <a:gd name="T8" fmla="*/ 122 w 122"/>
                <a:gd name="T9" fmla="*/ 0 h 748"/>
                <a:gd name="T10" fmla="*/ 122 w 122"/>
                <a:gd name="T11" fmla="*/ 691 h 748"/>
                <a:gd name="T12" fmla="*/ 65 w 122"/>
                <a:gd name="T13" fmla="*/ 748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748">
                  <a:moveTo>
                    <a:pt x="65" y="748"/>
                  </a:moveTo>
                  <a:lnTo>
                    <a:pt x="65" y="748"/>
                  </a:lnTo>
                  <a:cubicBezTo>
                    <a:pt x="29" y="748"/>
                    <a:pt x="0" y="719"/>
                    <a:pt x="0" y="68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691"/>
                  </a:lnTo>
                  <a:cubicBezTo>
                    <a:pt x="122" y="722"/>
                    <a:pt x="96" y="748"/>
                    <a:pt x="65" y="748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28" name="Freeform 426">
              <a:extLst>
                <a:ext uri="{FF2B5EF4-FFF2-40B4-BE49-F238E27FC236}">
                  <a16:creationId xmlns:a16="http://schemas.microsoft.com/office/drawing/2014/main" id="{C178C8DB-972D-4B4D-0E8F-01E8510D8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937" y="8412783"/>
              <a:ext cx="326846" cy="89678"/>
            </a:xfrm>
            <a:custGeom>
              <a:avLst/>
              <a:gdLst>
                <a:gd name="T0" fmla="*/ 837 w 837"/>
                <a:gd name="T1" fmla="*/ 243 h 243"/>
                <a:gd name="T2" fmla="*/ 300 w 837"/>
                <a:gd name="T3" fmla="*/ 243 h 243"/>
                <a:gd name="T4" fmla="*/ 230 w 837"/>
                <a:gd name="T5" fmla="*/ 146 h 243"/>
                <a:gd name="T6" fmla="*/ 0 w 837"/>
                <a:gd name="T7" fmla="*/ 146 h 243"/>
                <a:gd name="T8" fmla="*/ 0 w 837"/>
                <a:gd name="T9" fmla="*/ 0 h 243"/>
                <a:gd name="T10" fmla="*/ 837 w 837"/>
                <a:gd name="T11" fmla="*/ 0 h 243"/>
                <a:gd name="T12" fmla="*/ 837 w 837"/>
                <a:gd name="T13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7" h="243">
                  <a:moveTo>
                    <a:pt x="837" y="243"/>
                  </a:moveTo>
                  <a:lnTo>
                    <a:pt x="300" y="243"/>
                  </a:lnTo>
                  <a:cubicBezTo>
                    <a:pt x="277" y="210"/>
                    <a:pt x="253" y="178"/>
                    <a:pt x="230" y="146"/>
                  </a:cubicBezTo>
                  <a:cubicBezTo>
                    <a:pt x="154" y="146"/>
                    <a:pt x="77" y="146"/>
                    <a:pt x="0" y="146"/>
                  </a:cubicBezTo>
                  <a:lnTo>
                    <a:pt x="0" y="0"/>
                  </a:lnTo>
                  <a:lnTo>
                    <a:pt x="837" y="0"/>
                  </a:lnTo>
                  <a:lnTo>
                    <a:pt x="837" y="243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2" name="Freeform 428">
              <a:extLst>
                <a:ext uri="{FF2B5EF4-FFF2-40B4-BE49-F238E27FC236}">
                  <a16:creationId xmlns:a16="http://schemas.microsoft.com/office/drawing/2014/main" id="{8665B4F1-9E8C-CCB0-4578-98AEB310E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4" name="Freeform 429">
              <a:extLst>
                <a:ext uri="{FF2B5EF4-FFF2-40B4-BE49-F238E27FC236}">
                  <a16:creationId xmlns:a16="http://schemas.microsoft.com/office/drawing/2014/main" id="{7498BCFE-EF6C-872C-013D-AA6CEA3F2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3192" y="8661983"/>
              <a:ext cx="242142" cy="113822"/>
            </a:xfrm>
            <a:custGeom>
              <a:avLst/>
              <a:gdLst>
                <a:gd name="T0" fmla="*/ 619 w 619"/>
                <a:gd name="T1" fmla="*/ 310 h 310"/>
                <a:gd name="T2" fmla="*/ 619 w 619"/>
                <a:gd name="T3" fmla="*/ 275 h 310"/>
                <a:gd name="T4" fmla="*/ 592 w 619"/>
                <a:gd name="T5" fmla="*/ 248 h 310"/>
                <a:gd name="T6" fmla="*/ 573 w 619"/>
                <a:gd name="T7" fmla="*/ 248 h 310"/>
                <a:gd name="T8" fmla="*/ 544 w 619"/>
                <a:gd name="T9" fmla="*/ 227 h 310"/>
                <a:gd name="T10" fmla="*/ 533 w 619"/>
                <a:gd name="T11" fmla="*/ 202 h 310"/>
                <a:gd name="T12" fmla="*/ 539 w 619"/>
                <a:gd name="T13" fmla="*/ 169 h 310"/>
                <a:gd name="T14" fmla="*/ 552 w 619"/>
                <a:gd name="T15" fmla="*/ 156 h 310"/>
                <a:gd name="T16" fmla="*/ 554 w 619"/>
                <a:gd name="T17" fmla="*/ 116 h 310"/>
                <a:gd name="T18" fmla="*/ 504 w 619"/>
                <a:gd name="T19" fmla="*/ 66 h 310"/>
                <a:gd name="T20" fmla="*/ 465 w 619"/>
                <a:gd name="T21" fmla="*/ 66 h 310"/>
                <a:gd name="T22" fmla="*/ 452 w 619"/>
                <a:gd name="T23" fmla="*/ 80 h 310"/>
                <a:gd name="T24" fmla="*/ 417 w 619"/>
                <a:gd name="T25" fmla="*/ 86 h 310"/>
                <a:gd name="T26" fmla="*/ 392 w 619"/>
                <a:gd name="T27" fmla="*/ 76 h 310"/>
                <a:gd name="T28" fmla="*/ 372 w 619"/>
                <a:gd name="T29" fmla="*/ 47 h 310"/>
                <a:gd name="T30" fmla="*/ 372 w 619"/>
                <a:gd name="T31" fmla="*/ 28 h 310"/>
                <a:gd name="T32" fmla="*/ 345 w 619"/>
                <a:gd name="T33" fmla="*/ 0 h 310"/>
                <a:gd name="T34" fmla="*/ 275 w 619"/>
                <a:gd name="T35" fmla="*/ 0 h 310"/>
                <a:gd name="T36" fmla="*/ 247 w 619"/>
                <a:gd name="T37" fmla="*/ 28 h 310"/>
                <a:gd name="T38" fmla="*/ 247 w 619"/>
                <a:gd name="T39" fmla="*/ 47 h 310"/>
                <a:gd name="T40" fmla="*/ 227 w 619"/>
                <a:gd name="T41" fmla="*/ 76 h 310"/>
                <a:gd name="T42" fmla="*/ 202 w 619"/>
                <a:gd name="T43" fmla="*/ 86 h 310"/>
                <a:gd name="T44" fmla="*/ 169 w 619"/>
                <a:gd name="T45" fmla="*/ 81 h 310"/>
                <a:gd name="T46" fmla="*/ 156 w 619"/>
                <a:gd name="T47" fmla="*/ 68 h 310"/>
                <a:gd name="T48" fmla="*/ 116 w 619"/>
                <a:gd name="T49" fmla="*/ 66 h 310"/>
                <a:gd name="T50" fmla="*/ 66 w 619"/>
                <a:gd name="T51" fmla="*/ 116 h 310"/>
                <a:gd name="T52" fmla="*/ 66 w 619"/>
                <a:gd name="T53" fmla="*/ 154 h 310"/>
                <a:gd name="T54" fmla="*/ 80 w 619"/>
                <a:gd name="T55" fmla="*/ 168 h 310"/>
                <a:gd name="T56" fmla="*/ 86 w 619"/>
                <a:gd name="T57" fmla="*/ 203 h 310"/>
                <a:gd name="T58" fmla="*/ 76 w 619"/>
                <a:gd name="T59" fmla="*/ 228 h 310"/>
                <a:gd name="T60" fmla="*/ 48 w 619"/>
                <a:gd name="T61" fmla="*/ 248 h 310"/>
                <a:gd name="T62" fmla="*/ 30 w 619"/>
                <a:gd name="T63" fmla="*/ 248 h 310"/>
                <a:gd name="T64" fmla="*/ 0 w 619"/>
                <a:gd name="T65" fmla="*/ 275 h 310"/>
                <a:gd name="T66" fmla="*/ 0 w 619"/>
                <a:gd name="T67" fmla="*/ 31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9" h="310">
                  <a:moveTo>
                    <a:pt x="619" y="310"/>
                  </a:moveTo>
                  <a:lnTo>
                    <a:pt x="619" y="275"/>
                  </a:lnTo>
                  <a:cubicBezTo>
                    <a:pt x="619" y="260"/>
                    <a:pt x="607" y="248"/>
                    <a:pt x="592" y="248"/>
                  </a:cubicBezTo>
                  <a:lnTo>
                    <a:pt x="573" y="248"/>
                  </a:lnTo>
                  <a:cubicBezTo>
                    <a:pt x="560" y="248"/>
                    <a:pt x="548" y="240"/>
                    <a:pt x="544" y="227"/>
                  </a:cubicBezTo>
                  <a:cubicBezTo>
                    <a:pt x="541" y="219"/>
                    <a:pt x="537" y="210"/>
                    <a:pt x="533" y="202"/>
                  </a:cubicBezTo>
                  <a:cubicBezTo>
                    <a:pt x="528" y="191"/>
                    <a:pt x="530" y="178"/>
                    <a:pt x="539" y="169"/>
                  </a:cubicBezTo>
                  <a:lnTo>
                    <a:pt x="552" y="156"/>
                  </a:lnTo>
                  <a:cubicBezTo>
                    <a:pt x="564" y="144"/>
                    <a:pt x="564" y="127"/>
                    <a:pt x="554" y="116"/>
                  </a:cubicBezTo>
                  <a:lnTo>
                    <a:pt x="504" y="66"/>
                  </a:lnTo>
                  <a:cubicBezTo>
                    <a:pt x="493" y="56"/>
                    <a:pt x="476" y="56"/>
                    <a:pt x="465" y="66"/>
                  </a:cubicBezTo>
                  <a:lnTo>
                    <a:pt x="452" y="80"/>
                  </a:lnTo>
                  <a:cubicBezTo>
                    <a:pt x="442" y="89"/>
                    <a:pt x="429" y="92"/>
                    <a:pt x="417" y="86"/>
                  </a:cubicBezTo>
                  <a:cubicBezTo>
                    <a:pt x="409" y="82"/>
                    <a:pt x="401" y="79"/>
                    <a:pt x="392" y="76"/>
                  </a:cubicBezTo>
                  <a:cubicBezTo>
                    <a:pt x="380" y="72"/>
                    <a:pt x="372" y="60"/>
                    <a:pt x="372" y="47"/>
                  </a:cubicBezTo>
                  <a:lnTo>
                    <a:pt x="372" y="28"/>
                  </a:lnTo>
                  <a:cubicBezTo>
                    <a:pt x="372" y="13"/>
                    <a:pt x="360" y="0"/>
                    <a:pt x="345" y="0"/>
                  </a:cubicBezTo>
                  <a:lnTo>
                    <a:pt x="275" y="0"/>
                  </a:lnTo>
                  <a:cubicBezTo>
                    <a:pt x="260" y="0"/>
                    <a:pt x="247" y="13"/>
                    <a:pt x="247" y="28"/>
                  </a:cubicBezTo>
                  <a:lnTo>
                    <a:pt x="247" y="47"/>
                  </a:lnTo>
                  <a:cubicBezTo>
                    <a:pt x="247" y="60"/>
                    <a:pt x="239" y="72"/>
                    <a:pt x="227" y="76"/>
                  </a:cubicBezTo>
                  <a:cubicBezTo>
                    <a:pt x="219" y="79"/>
                    <a:pt x="210" y="83"/>
                    <a:pt x="202" y="86"/>
                  </a:cubicBezTo>
                  <a:cubicBezTo>
                    <a:pt x="191" y="92"/>
                    <a:pt x="177" y="89"/>
                    <a:pt x="169" y="81"/>
                  </a:cubicBezTo>
                  <a:lnTo>
                    <a:pt x="156" y="68"/>
                  </a:lnTo>
                  <a:cubicBezTo>
                    <a:pt x="144" y="56"/>
                    <a:pt x="126" y="56"/>
                    <a:pt x="116" y="66"/>
                  </a:cubicBezTo>
                  <a:lnTo>
                    <a:pt x="66" y="116"/>
                  </a:lnTo>
                  <a:cubicBezTo>
                    <a:pt x="55" y="127"/>
                    <a:pt x="55" y="144"/>
                    <a:pt x="66" y="154"/>
                  </a:cubicBezTo>
                  <a:lnTo>
                    <a:pt x="80" y="168"/>
                  </a:lnTo>
                  <a:cubicBezTo>
                    <a:pt x="89" y="177"/>
                    <a:pt x="92" y="191"/>
                    <a:pt x="86" y="203"/>
                  </a:cubicBezTo>
                  <a:cubicBezTo>
                    <a:pt x="82" y="211"/>
                    <a:pt x="79" y="220"/>
                    <a:pt x="76" y="228"/>
                  </a:cubicBezTo>
                  <a:cubicBezTo>
                    <a:pt x="72" y="240"/>
                    <a:pt x="60" y="248"/>
                    <a:pt x="48" y="248"/>
                  </a:cubicBezTo>
                  <a:lnTo>
                    <a:pt x="30" y="248"/>
                  </a:lnTo>
                  <a:cubicBezTo>
                    <a:pt x="12" y="248"/>
                    <a:pt x="0" y="260"/>
                    <a:pt x="0" y="275"/>
                  </a:cubicBezTo>
                  <a:lnTo>
                    <a:pt x="0" y="31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5" name="Freeform 430">
              <a:extLst>
                <a:ext uri="{FF2B5EF4-FFF2-40B4-BE49-F238E27FC236}">
                  <a16:creationId xmlns:a16="http://schemas.microsoft.com/office/drawing/2014/main" id="{BD3C7688-8055-AF4B-0C93-413017359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0403" y="8724068"/>
              <a:ext cx="108642" cy="51737"/>
            </a:xfrm>
            <a:custGeom>
              <a:avLst/>
              <a:gdLst>
                <a:gd name="T0" fmla="*/ 0 w 280"/>
                <a:gd name="T1" fmla="*/ 140 h 140"/>
                <a:gd name="T2" fmla="*/ 140 w 280"/>
                <a:gd name="T3" fmla="*/ 0 h 140"/>
                <a:gd name="T4" fmla="*/ 280 w 280"/>
                <a:gd name="T5" fmla="*/ 140 h 140"/>
                <a:gd name="T6" fmla="*/ 0 w 280"/>
                <a:gd name="T7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140">
                  <a:moveTo>
                    <a:pt x="0" y="140"/>
                  </a:moveTo>
                  <a:cubicBezTo>
                    <a:pt x="0" y="63"/>
                    <a:pt x="62" y="0"/>
                    <a:pt x="140" y="0"/>
                  </a:cubicBezTo>
                  <a:cubicBezTo>
                    <a:pt x="217" y="0"/>
                    <a:pt x="280" y="63"/>
                    <a:pt x="280" y="140"/>
                  </a:cubicBezTo>
                  <a:lnTo>
                    <a:pt x="0" y="14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38" name="Freeform 431">
              <a:extLst>
                <a:ext uri="{FF2B5EF4-FFF2-40B4-BE49-F238E27FC236}">
                  <a16:creationId xmlns:a16="http://schemas.microsoft.com/office/drawing/2014/main" id="{1605968A-EA08-38D1-5FA2-A904FF89C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6000" y="8535227"/>
              <a:ext cx="120611" cy="227643"/>
            </a:xfrm>
            <a:custGeom>
              <a:avLst/>
              <a:gdLst>
                <a:gd name="T0" fmla="*/ 309 w 309"/>
                <a:gd name="T1" fmla="*/ 0 h 619"/>
                <a:gd name="T2" fmla="*/ 274 w 309"/>
                <a:gd name="T3" fmla="*/ 0 h 619"/>
                <a:gd name="T4" fmla="*/ 247 w 309"/>
                <a:gd name="T5" fmla="*/ 27 h 619"/>
                <a:gd name="T6" fmla="*/ 247 w 309"/>
                <a:gd name="T7" fmla="*/ 47 h 619"/>
                <a:gd name="T8" fmla="*/ 227 w 309"/>
                <a:gd name="T9" fmla="*/ 76 h 619"/>
                <a:gd name="T10" fmla="*/ 201 w 309"/>
                <a:gd name="T11" fmla="*/ 86 h 619"/>
                <a:gd name="T12" fmla="*/ 168 w 309"/>
                <a:gd name="T13" fmla="*/ 80 h 619"/>
                <a:gd name="T14" fmla="*/ 156 w 309"/>
                <a:gd name="T15" fmla="*/ 68 h 619"/>
                <a:gd name="T16" fmla="*/ 115 w 309"/>
                <a:gd name="T17" fmla="*/ 66 h 619"/>
                <a:gd name="T18" fmla="*/ 66 w 309"/>
                <a:gd name="T19" fmla="*/ 116 h 619"/>
                <a:gd name="T20" fmla="*/ 66 w 309"/>
                <a:gd name="T21" fmla="*/ 154 h 619"/>
                <a:gd name="T22" fmla="*/ 79 w 309"/>
                <a:gd name="T23" fmla="*/ 168 h 619"/>
                <a:gd name="T24" fmla="*/ 85 w 309"/>
                <a:gd name="T25" fmla="*/ 203 h 619"/>
                <a:gd name="T26" fmla="*/ 75 w 309"/>
                <a:gd name="T27" fmla="*/ 227 h 619"/>
                <a:gd name="T28" fmla="*/ 46 w 309"/>
                <a:gd name="T29" fmla="*/ 247 h 619"/>
                <a:gd name="T30" fmla="*/ 27 w 309"/>
                <a:gd name="T31" fmla="*/ 247 h 619"/>
                <a:gd name="T32" fmla="*/ 0 w 309"/>
                <a:gd name="T33" fmla="*/ 274 h 619"/>
                <a:gd name="T34" fmla="*/ 0 w 309"/>
                <a:gd name="T35" fmla="*/ 345 h 619"/>
                <a:gd name="T36" fmla="*/ 27 w 309"/>
                <a:gd name="T37" fmla="*/ 372 h 619"/>
                <a:gd name="T38" fmla="*/ 46 w 309"/>
                <a:gd name="T39" fmla="*/ 372 h 619"/>
                <a:gd name="T40" fmla="*/ 75 w 309"/>
                <a:gd name="T41" fmla="*/ 392 h 619"/>
                <a:gd name="T42" fmla="*/ 86 w 309"/>
                <a:gd name="T43" fmla="*/ 418 h 619"/>
                <a:gd name="T44" fmla="*/ 80 w 309"/>
                <a:gd name="T45" fmla="*/ 451 h 619"/>
                <a:gd name="T46" fmla="*/ 67 w 309"/>
                <a:gd name="T47" fmla="*/ 463 h 619"/>
                <a:gd name="T48" fmla="*/ 66 w 309"/>
                <a:gd name="T49" fmla="*/ 504 h 619"/>
                <a:gd name="T50" fmla="*/ 115 w 309"/>
                <a:gd name="T51" fmla="*/ 553 h 619"/>
                <a:gd name="T52" fmla="*/ 154 w 309"/>
                <a:gd name="T53" fmla="*/ 553 h 619"/>
                <a:gd name="T54" fmla="*/ 167 w 309"/>
                <a:gd name="T55" fmla="*/ 540 h 619"/>
                <a:gd name="T56" fmla="*/ 202 w 309"/>
                <a:gd name="T57" fmla="*/ 533 h 619"/>
                <a:gd name="T58" fmla="*/ 228 w 309"/>
                <a:gd name="T59" fmla="*/ 544 h 619"/>
                <a:gd name="T60" fmla="*/ 247 w 309"/>
                <a:gd name="T61" fmla="*/ 572 h 619"/>
                <a:gd name="T62" fmla="*/ 247 w 309"/>
                <a:gd name="T63" fmla="*/ 589 h 619"/>
                <a:gd name="T64" fmla="*/ 274 w 309"/>
                <a:gd name="T65" fmla="*/ 619 h 619"/>
                <a:gd name="T66" fmla="*/ 309 w 309"/>
                <a:gd name="T67" fmla="*/ 619 h 619"/>
                <a:gd name="T68" fmla="*/ 309 w 309"/>
                <a:gd name="T69" fmla="*/ 0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9" h="619">
                  <a:moveTo>
                    <a:pt x="309" y="0"/>
                  </a:moveTo>
                  <a:lnTo>
                    <a:pt x="274" y="0"/>
                  </a:lnTo>
                  <a:cubicBezTo>
                    <a:pt x="259" y="0"/>
                    <a:pt x="247" y="12"/>
                    <a:pt x="247" y="27"/>
                  </a:cubicBezTo>
                  <a:lnTo>
                    <a:pt x="247" y="47"/>
                  </a:lnTo>
                  <a:cubicBezTo>
                    <a:pt x="247" y="60"/>
                    <a:pt x="239" y="71"/>
                    <a:pt x="227" y="76"/>
                  </a:cubicBezTo>
                  <a:cubicBezTo>
                    <a:pt x="218" y="79"/>
                    <a:pt x="210" y="82"/>
                    <a:pt x="201" y="86"/>
                  </a:cubicBezTo>
                  <a:cubicBezTo>
                    <a:pt x="190" y="92"/>
                    <a:pt x="177" y="89"/>
                    <a:pt x="168" y="80"/>
                  </a:cubicBezTo>
                  <a:lnTo>
                    <a:pt x="156" y="68"/>
                  </a:lnTo>
                  <a:cubicBezTo>
                    <a:pt x="143" y="55"/>
                    <a:pt x="126" y="55"/>
                    <a:pt x="115" y="66"/>
                  </a:cubicBezTo>
                  <a:lnTo>
                    <a:pt x="66" y="116"/>
                  </a:lnTo>
                  <a:cubicBezTo>
                    <a:pt x="55" y="126"/>
                    <a:pt x="55" y="143"/>
                    <a:pt x="66" y="154"/>
                  </a:cubicBezTo>
                  <a:lnTo>
                    <a:pt x="79" y="168"/>
                  </a:lnTo>
                  <a:cubicBezTo>
                    <a:pt x="88" y="177"/>
                    <a:pt x="91" y="191"/>
                    <a:pt x="85" y="203"/>
                  </a:cubicBezTo>
                  <a:cubicBezTo>
                    <a:pt x="82" y="211"/>
                    <a:pt x="78" y="219"/>
                    <a:pt x="75" y="227"/>
                  </a:cubicBezTo>
                  <a:cubicBezTo>
                    <a:pt x="71" y="239"/>
                    <a:pt x="59" y="247"/>
                    <a:pt x="46" y="247"/>
                  </a:cubicBezTo>
                  <a:lnTo>
                    <a:pt x="27" y="247"/>
                  </a:lnTo>
                  <a:cubicBezTo>
                    <a:pt x="12" y="247"/>
                    <a:pt x="0" y="259"/>
                    <a:pt x="0" y="274"/>
                  </a:cubicBezTo>
                  <a:lnTo>
                    <a:pt x="0" y="345"/>
                  </a:lnTo>
                  <a:cubicBezTo>
                    <a:pt x="0" y="360"/>
                    <a:pt x="12" y="372"/>
                    <a:pt x="27" y="372"/>
                  </a:cubicBezTo>
                  <a:lnTo>
                    <a:pt x="46" y="372"/>
                  </a:lnTo>
                  <a:cubicBezTo>
                    <a:pt x="59" y="372"/>
                    <a:pt x="71" y="380"/>
                    <a:pt x="75" y="392"/>
                  </a:cubicBezTo>
                  <a:cubicBezTo>
                    <a:pt x="78" y="401"/>
                    <a:pt x="82" y="409"/>
                    <a:pt x="86" y="418"/>
                  </a:cubicBezTo>
                  <a:cubicBezTo>
                    <a:pt x="91" y="429"/>
                    <a:pt x="89" y="442"/>
                    <a:pt x="80" y="451"/>
                  </a:cubicBezTo>
                  <a:lnTo>
                    <a:pt x="67" y="463"/>
                  </a:lnTo>
                  <a:cubicBezTo>
                    <a:pt x="55" y="476"/>
                    <a:pt x="55" y="493"/>
                    <a:pt x="66" y="504"/>
                  </a:cubicBezTo>
                  <a:lnTo>
                    <a:pt x="115" y="553"/>
                  </a:lnTo>
                  <a:cubicBezTo>
                    <a:pt x="126" y="564"/>
                    <a:pt x="143" y="564"/>
                    <a:pt x="154" y="553"/>
                  </a:cubicBezTo>
                  <a:lnTo>
                    <a:pt x="167" y="540"/>
                  </a:lnTo>
                  <a:cubicBezTo>
                    <a:pt x="177" y="531"/>
                    <a:pt x="191" y="528"/>
                    <a:pt x="202" y="533"/>
                  </a:cubicBezTo>
                  <a:cubicBezTo>
                    <a:pt x="211" y="537"/>
                    <a:pt x="219" y="541"/>
                    <a:pt x="228" y="544"/>
                  </a:cubicBezTo>
                  <a:cubicBezTo>
                    <a:pt x="239" y="548"/>
                    <a:pt x="247" y="559"/>
                    <a:pt x="247" y="572"/>
                  </a:cubicBezTo>
                  <a:lnTo>
                    <a:pt x="247" y="589"/>
                  </a:lnTo>
                  <a:cubicBezTo>
                    <a:pt x="247" y="607"/>
                    <a:pt x="259" y="619"/>
                    <a:pt x="274" y="619"/>
                  </a:cubicBezTo>
                  <a:lnTo>
                    <a:pt x="309" y="619"/>
                  </a:lnTo>
                  <a:lnTo>
                    <a:pt x="309" y="0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0" name="Freeform 432">
              <a:extLst>
                <a:ext uri="{FF2B5EF4-FFF2-40B4-BE49-F238E27FC236}">
                  <a16:creationId xmlns:a16="http://schemas.microsoft.com/office/drawing/2014/main" id="{3A640DAE-9370-A8A2-37A2-5D0ECED46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1369" y="8598174"/>
              <a:ext cx="55242" cy="102612"/>
            </a:xfrm>
            <a:custGeom>
              <a:avLst/>
              <a:gdLst>
                <a:gd name="T0" fmla="*/ 140 w 140"/>
                <a:gd name="T1" fmla="*/ 280 h 280"/>
                <a:gd name="T2" fmla="*/ 0 w 140"/>
                <a:gd name="T3" fmla="*/ 140 h 280"/>
                <a:gd name="T4" fmla="*/ 140 w 140"/>
                <a:gd name="T5" fmla="*/ 0 h 280"/>
                <a:gd name="T6" fmla="*/ 140 w 140"/>
                <a:gd name="T7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280">
                  <a:moveTo>
                    <a:pt x="140" y="280"/>
                  </a:moveTo>
                  <a:cubicBezTo>
                    <a:pt x="63" y="280"/>
                    <a:pt x="0" y="217"/>
                    <a:pt x="0" y="140"/>
                  </a:cubicBezTo>
                  <a:cubicBezTo>
                    <a:pt x="0" y="62"/>
                    <a:pt x="63" y="0"/>
                    <a:pt x="140" y="0"/>
                  </a:cubicBezTo>
                  <a:lnTo>
                    <a:pt x="140" y="280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4" name="Freeform 433">
              <a:extLst>
                <a:ext uri="{FF2B5EF4-FFF2-40B4-BE49-F238E27FC236}">
                  <a16:creationId xmlns:a16="http://schemas.microsoft.com/office/drawing/2014/main" id="{CF7FB44F-5BDC-5612-6175-79558E35B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8607" y="8594725"/>
              <a:ext cx="58004" cy="108648"/>
            </a:xfrm>
            <a:custGeom>
              <a:avLst/>
              <a:gdLst>
                <a:gd name="T0" fmla="*/ 148 w 148"/>
                <a:gd name="T1" fmla="*/ 297 h 297"/>
                <a:gd name="T2" fmla="*/ 0 w 148"/>
                <a:gd name="T3" fmla="*/ 149 h 297"/>
                <a:gd name="T4" fmla="*/ 148 w 148"/>
                <a:gd name="T5" fmla="*/ 0 h 297"/>
                <a:gd name="T6" fmla="*/ 148 w 148"/>
                <a:gd name="T7" fmla="*/ 17 h 297"/>
                <a:gd name="T8" fmla="*/ 17 w 148"/>
                <a:gd name="T9" fmla="*/ 149 h 297"/>
                <a:gd name="T10" fmla="*/ 148 w 148"/>
                <a:gd name="T11" fmla="*/ 280 h 297"/>
                <a:gd name="T12" fmla="*/ 148 w 148"/>
                <a:gd name="T13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297">
                  <a:moveTo>
                    <a:pt x="148" y="297"/>
                  </a:moveTo>
                  <a:cubicBezTo>
                    <a:pt x="66" y="297"/>
                    <a:pt x="0" y="230"/>
                    <a:pt x="0" y="149"/>
                  </a:cubicBezTo>
                  <a:cubicBezTo>
                    <a:pt x="0" y="67"/>
                    <a:pt x="66" y="0"/>
                    <a:pt x="148" y="0"/>
                  </a:cubicBezTo>
                  <a:lnTo>
                    <a:pt x="148" y="17"/>
                  </a:lnTo>
                  <a:cubicBezTo>
                    <a:pt x="76" y="17"/>
                    <a:pt x="17" y="76"/>
                    <a:pt x="17" y="149"/>
                  </a:cubicBezTo>
                  <a:cubicBezTo>
                    <a:pt x="17" y="221"/>
                    <a:pt x="76" y="280"/>
                    <a:pt x="148" y="280"/>
                  </a:cubicBezTo>
                  <a:lnTo>
                    <a:pt x="148" y="29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5" name="Freeform 434">
              <a:extLst>
                <a:ext uri="{FF2B5EF4-FFF2-40B4-BE49-F238E27FC236}">
                  <a16:creationId xmlns:a16="http://schemas.microsoft.com/office/drawing/2014/main" id="{BB1B89E3-6C71-504B-0338-6EEF36E0D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2317" y="8532641"/>
              <a:ext cx="124294" cy="233680"/>
            </a:xfrm>
            <a:custGeom>
              <a:avLst/>
              <a:gdLst>
                <a:gd name="T0" fmla="*/ 283 w 318"/>
                <a:gd name="T1" fmla="*/ 636 h 636"/>
                <a:gd name="T2" fmla="*/ 248 w 318"/>
                <a:gd name="T3" fmla="*/ 580 h 636"/>
                <a:gd name="T4" fmla="*/ 208 w 318"/>
                <a:gd name="T5" fmla="*/ 549 h 636"/>
                <a:gd name="T6" fmla="*/ 169 w 318"/>
                <a:gd name="T7" fmla="*/ 567 h 636"/>
                <a:gd name="T8" fmla="*/ 69 w 318"/>
                <a:gd name="T9" fmla="*/ 518 h 636"/>
                <a:gd name="T10" fmla="*/ 83 w 318"/>
                <a:gd name="T11" fmla="*/ 453 h 636"/>
                <a:gd name="T12" fmla="*/ 77 w 318"/>
                <a:gd name="T13" fmla="*/ 403 h 636"/>
                <a:gd name="T14" fmla="*/ 36 w 318"/>
                <a:gd name="T15" fmla="*/ 388 h 636"/>
                <a:gd name="T16" fmla="*/ 0 w 318"/>
                <a:gd name="T17" fmla="*/ 282 h 636"/>
                <a:gd name="T18" fmla="*/ 55 w 318"/>
                <a:gd name="T19" fmla="*/ 247 h 636"/>
                <a:gd name="T20" fmla="*/ 87 w 318"/>
                <a:gd name="T21" fmla="*/ 207 h 636"/>
                <a:gd name="T22" fmla="*/ 69 w 318"/>
                <a:gd name="T23" fmla="*/ 168 h 636"/>
                <a:gd name="T24" fmla="*/ 69 w 318"/>
                <a:gd name="T25" fmla="*/ 118 h 636"/>
                <a:gd name="T26" fmla="*/ 144 w 318"/>
                <a:gd name="T27" fmla="*/ 58 h 636"/>
                <a:gd name="T28" fmla="*/ 183 w 318"/>
                <a:gd name="T29" fmla="*/ 82 h 636"/>
                <a:gd name="T30" fmla="*/ 233 w 318"/>
                <a:gd name="T31" fmla="*/ 76 h 636"/>
                <a:gd name="T32" fmla="*/ 248 w 318"/>
                <a:gd name="T33" fmla="*/ 35 h 636"/>
                <a:gd name="T34" fmla="*/ 318 w 318"/>
                <a:gd name="T35" fmla="*/ 0 h 636"/>
                <a:gd name="T36" fmla="*/ 283 w 318"/>
                <a:gd name="T37" fmla="*/ 16 h 636"/>
                <a:gd name="T38" fmla="*/ 264 w 318"/>
                <a:gd name="T39" fmla="*/ 55 h 636"/>
                <a:gd name="T40" fmla="*/ 214 w 318"/>
                <a:gd name="T41" fmla="*/ 102 h 636"/>
                <a:gd name="T42" fmla="*/ 159 w 318"/>
                <a:gd name="T43" fmla="*/ 82 h 636"/>
                <a:gd name="T44" fmla="*/ 130 w 318"/>
                <a:gd name="T45" fmla="*/ 80 h 636"/>
                <a:gd name="T46" fmla="*/ 75 w 318"/>
                <a:gd name="T47" fmla="*/ 143 h 636"/>
                <a:gd name="T48" fmla="*/ 94 w 318"/>
                <a:gd name="T49" fmla="*/ 170 h 636"/>
                <a:gd name="T50" fmla="*/ 92 w 318"/>
                <a:gd name="T51" fmla="*/ 238 h 636"/>
                <a:gd name="T52" fmla="*/ 36 w 318"/>
                <a:gd name="T53" fmla="*/ 264 h 636"/>
                <a:gd name="T54" fmla="*/ 17 w 318"/>
                <a:gd name="T55" fmla="*/ 353 h 636"/>
                <a:gd name="T56" fmla="*/ 55 w 318"/>
                <a:gd name="T57" fmla="*/ 372 h 636"/>
                <a:gd name="T58" fmla="*/ 102 w 318"/>
                <a:gd name="T59" fmla="*/ 422 h 636"/>
                <a:gd name="T60" fmla="*/ 82 w 318"/>
                <a:gd name="T61" fmla="*/ 477 h 636"/>
                <a:gd name="T62" fmla="*/ 130 w 318"/>
                <a:gd name="T63" fmla="*/ 556 h 636"/>
                <a:gd name="T64" fmla="*/ 171 w 318"/>
                <a:gd name="T65" fmla="*/ 542 h 636"/>
                <a:gd name="T66" fmla="*/ 239 w 318"/>
                <a:gd name="T67" fmla="*/ 544 h 636"/>
                <a:gd name="T68" fmla="*/ 264 w 318"/>
                <a:gd name="T69" fmla="*/ 597 h 636"/>
                <a:gd name="T70" fmla="*/ 318 w 318"/>
                <a:gd name="T71" fmla="*/ 619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8" h="636">
                  <a:moveTo>
                    <a:pt x="318" y="636"/>
                  </a:moveTo>
                  <a:lnTo>
                    <a:pt x="283" y="636"/>
                  </a:lnTo>
                  <a:cubicBezTo>
                    <a:pt x="263" y="636"/>
                    <a:pt x="248" y="619"/>
                    <a:pt x="248" y="597"/>
                  </a:cubicBezTo>
                  <a:lnTo>
                    <a:pt x="248" y="580"/>
                  </a:lnTo>
                  <a:cubicBezTo>
                    <a:pt x="248" y="571"/>
                    <a:pt x="242" y="563"/>
                    <a:pt x="234" y="560"/>
                  </a:cubicBezTo>
                  <a:cubicBezTo>
                    <a:pt x="225" y="557"/>
                    <a:pt x="216" y="553"/>
                    <a:pt x="208" y="549"/>
                  </a:cubicBezTo>
                  <a:cubicBezTo>
                    <a:pt x="199" y="545"/>
                    <a:pt x="189" y="547"/>
                    <a:pt x="182" y="554"/>
                  </a:cubicBezTo>
                  <a:lnTo>
                    <a:pt x="169" y="567"/>
                  </a:lnTo>
                  <a:cubicBezTo>
                    <a:pt x="155" y="581"/>
                    <a:pt x="132" y="581"/>
                    <a:pt x="118" y="567"/>
                  </a:cubicBezTo>
                  <a:lnTo>
                    <a:pt x="69" y="518"/>
                  </a:lnTo>
                  <a:cubicBezTo>
                    <a:pt x="54" y="503"/>
                    <a:pt x="55" y="481"/>
                    <a:pt x="71" y="465"/>
                  </a:cubicBezTo>
                  <a:lnTo>
                    <a:pt x="83" y="453"/>
                  </a:lnTo>
                  <a:cubicBezTo>
                    <a:pt x="89" y="447"/>
                    <a:pt x="91" y="437"/>
                    <a:pt x="87" y="429"/>
                  </a:cubicBezTo>
                  <a:cubicBezTo>
                    <a:pt x="83" y="421"/>
                    <a:pt x="80" y="412"/>
                    <a:pt x="77" y="403"/>
                  </a:cubicBezTo>
                  <a:cubicBezTo>
                    <a:pt x="73" y="394"/>
                    <a:pt x="65" y="388"/>
                    <a:pt x="55" y="388"/>
                  </a:cubicBezTo>
                  <a:lnTo>
                    <a:pt x="36" y="388"/>
                  </a:lnTo>
                  <a:cubicBezTo>
                    <a:pt x="16" y="388"/>
                    <a:pt x="0" y="372"/>
                    <a:pt x="0" y="353"/>
                  </a:cubicBezTo>
                  <a:lnTo>
                    <a:pt x="0" y="282"/>
                  </a:lnTo>
                  <a:cubicBezTo>
                    <a:pt x="0" y="263"/>
                    <a:pt x="16" y="247"/>
                    <a:pt x="36" y="247"/>
                  </a:cubicBezTo>
                  <a:lnTo>
                    <a:pt x="55" y="247"/>
                  </a:lnTo>
                  <a:cubicBezTo>
                    <a:pt x="65" y="247"/>
                    <a:pt x="73" y="241"/>
                    <a:pt x="77" y="232"/>
                  </a:cubicBezTo>
                  <a:cubicBezTo>
                    <a:pt x="80" y="224"/>
                    <a:pt x="83" y="215"/>
                    <a:pt x="87" y="207"/>
                  </a:cubicBezTo>
                  <a:cubicBezTo>
                    <a:pt x="91" y="199"/>
                    <a:pt x="89" y="188"/>
                    <a:pt x="82" y="182"/>
                  </a:cubicBezTo>
                  <a:lnTo>
                    <a:pt x="69" y="168"/>
                  </a:lnTo>
                  <a:cubicBezTo>
                    <a:pt x="62" y="161"/>
                    <a:pt x="58" y="152"/>
                    <a:pt x="58" y="143"/>
                  </a:cubicBezTo>
                  <a:cubicBezTo>
                    <a:pt x="58" y="133"/>
                    <a:pt x="62" y="124"/>
                    <a:pt x="69" y="118"/>
                  </a:cubicBezTo>
                  <a:lnTo>
                    <a:pt x="118" y="68"/>
                  </a:lnTo>
                  <a:cubicBezTo>
                    <a:pt x="125" y="61"/>
                    <a:pt x="134" y="57"/>
                    <a:pt x="144" y="58"/>
                  </a:cubicBezTo>
                  <a:cubicBezTo>
                    <a:pt x="154" y="58"/>
                    <a:pt x="163" y="62"/>
                    <a:pt x="170" y="70"/>
                  </a:cubicBezTo>
                  <a:lnTo>
                    <a:pt x="183" y="82"/>
                  </a:lnTo>
                  <a:cubicBezTo>
                    <a:pt x="189" y="89"/>
                    <a:pt x="199" y="90"/>
                    <a:pt x="207" y="87"/>
                  </a:cubicBezTo>
                  <a:cubicBezTo>
                    <a:pt x="215" y="83"/>
                    <a:pt x="224" y="79"/>
                    <a:pt x="233" y="76"/>
                  </a:cubicBezTo>
                  <a:cubicBezTo>
                    <a:pt x="242" y="73"/>
                    <a:pt x="248" y="64"/>
                    <a:pt x="248" y="55"/>
                  </a:cubicBezTo>
                  <a:lnTo>
                    <a:pt x="248" y="35"/>
                  </a:lnTo>
                  <a:cubicBezTo>
                    <a:pt x="248" y="16"/>
                    <a:pt x="264" y="0"/>
                    <a:pt x="283" y="0"/>
                  </a:cubicBezTo>
                  <a:lnTo>
                    <a:pt x="318" y="0"/>
                  </a:lnTo>
                  <a:lnTo>
                    <a:pt x="318" y="16"/>
                  </a:lnTo>
                  <a:lnTo>
                    <a:pt x="283" y="16"/>
                  </a:lnTo>
                  <a:cubicBezTo>
                    <a:pt x="273" y="16"/>
                    <a:pt x="264" y="25"/>
                    <a:pt x="264" y="35"/>
                  </a:cubicBezTo>
                  <a:lnTo>
                    <a:pt x="264" y="55"/>
                  </a:lnTo>
                  <a:cubicBezTo>
                    <a:pt x="264" y="71"/>
                    <a:pt x="254" y="86"/>
                    <a:pt x="238" y="92"/>
                  </a:cubicBezTo>
                  <a:cubicBezTo>
                    <a:pt x="230" y="95"/>
                    <a:pt x="222" y="98"/>
                    <a:pt x="214" y="102"/>
                  </a:cubicBezTo>
                  <a:cubicBezTo>
                    <a:pt x="200" y="109"/>
                    <a:pt x="183" y="106"/>
                    <a:pt x="171" y="94"/>
                  </a:cubicBezTo>
                  <a:lnTo>
                    <a:pt x="159" y="82"/>
                  </a:lnTo>
                  <a:cubicBezTo>
                    <a:pt x="154" y="77"/>
                    <a:pt x="149" y="75"/>
                    <a:pt x="144" y="75"/>
                  </a:cubicBezTo>
                  <a:cubicBezTo>
                    <a:pt x="139" y="74"/>
                    <a:pt x="134" y="76"/>
                    <a:pt x="130" y="80"/>
                  </a:cubicBezTo>
                  <a:lnTo>
                    <a:pt x="80" y="130"/>
                  </a:lnTo>
                  <a:cubicBezTo>
                    <a:pt x="77" y="133"/>
                    <a:pt x="75" y="138"/>
                    <a:pt x="75" y="143"/>
                  </a:cubicBezTo>
                  <a:cubicBezTo>
                    <a:pt x="75" y="148"/>
                    <a:pt x="77" y="153"/>
                    <a:pt x="80" y="156"/>
                  </a:cubicBezTo>
                  <a:lnTo>
                    <a:pt x="94" y="170"/>
                  </a:lnTo>
                  <a:cubicBezTo>
                    <a:pt x="106" y="182"/>
                    <a:pt x="109" y="199"/>
                    <a:pt x="102" y="214"/>
                  </a:cubicBezTo>
                  <a:cubicBezTo>
                    <a:pt x="98" y="222"/>
                    <a:pt x="95" y="230"/>
                    <a:pt x="92" y="238"/>
                  </a:cubicBezTo>
                  <a:cubicBezTo>
                    <a:pt x="87" y="253"/>
                    <a:pt x="72" y="264"/>
                    <a:pt x="55" y="264"/>
                  </a:cubicBezTo>
                  <a:lnTo>
                    <a:pt x="36" y="264"/>
                  </a:lnTo>
                  <a:cubicBezTo>
                    <a:pt x="26" y="264"/>
                    <a:pt x="17" y="272"/>
                    <a:pt x="17" y="282"/>
                  </a:cubicBezTo>
                  <a:lnTo>
                    <a:pt x="17" y="353"/>
                  </a:lnTo>
                  <a:cubicBezTo>
                    <a:pt x="17" y="363"/>
                    <a:pt x="26" y="372"/>
                    <a:pt x="36" y="372"/>
                  </a:cubicBezTo>
                  <a:lnTo>
                    <a:pt x="55" y="372"/>
                  </a:lnTo>
                  <a:cubicBezTo>
                    <a:pt x="72" y="372"/>
                    <a:pt x="87" y="382"/>
                    <a:pt x="92" y="398"/>
                  </a:cubicBezTo>
                  <a:cubicBezTo>
                    <a:pt x="95" y="406"/>
                    <a:pt x="99" y="414"/>
                    <a:pt x="102" y="422"/>
                  </a:cubicBezTo>
                  <a:cubicBezTo>
                    <a:pt x="109" y="436"/>
                    <a:pt x="106" y="453"/>
                    <a:pt x="95" y="465"/>
                  </a:cubicBezTo>
                  <a:lnTo>
                    <a:pt x="82" y="477"/>
                  </a:lnTo>
                  <a:cubicBezTo>
                    <a:pt x="74" y="486"/>
                    <a:pt x="73" y="498"/>
                    <a:pt x="80" y="506"/>
                  </a:cubicBezTo>
                  <a:lnTo>
                    <a:pt x="130" y="556"/>
                  </a:lnTo>
                  <a:cubicBezTo>
                    <a:pt x="138" y="563"/>
                    <a:pt x="150" y="563"/>
                    <a:pt x="157" y="556"/>
                  </a:cubicBezTo>
                  <a:lnTo>
                    <a:pt x="171" y="542"/>
                  </a:lnTo>
                  <a:cubicBezTo>
                    <a:pt x="182" y="530"/>
                    <a:pt x="200" y="527"/>
                    <a:pt x="215" y="534"/>
                  </a:cubicBezTo>
                  <a:cubicBezTo>
                    <a:pt x="223" y="538"/>
                    <a:pt x="231" y="541"/>
                    <a:pt x="239" y="544"/>
                  </a:cubicBezTo>
                  <a:cubicBezTo>
                    <a:pt x="254" y="549"/>
                    <a:pt x="264" y="564"/>
                    <a:pt x="264" y="580"/>
                  </a:cubicBezTo>
                  <a:lnTo>
                    <a:pt x="264" y="597"/>
                  </a:lnTo>
                  <a:cubicBezTo>
                    <a:pt x="264" y="610"/>
                    <a:pt x="272" y="619"/>
                    <a:pt x="283" y="619"/>
                  </a:cubicBezTo>
                  <a:lnTo>
                    <a:pt x="318" y="619"/>
                  </a:lnTo>
                  <a:lnTo>
                    <a:pt x="318" y="636"/>
                  </a:ln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6" name="Freeform 435">
              <a:extLst>
                <a:ext uri="{FF2B5EF4-FFF2-40B4-BE49-F238E27FC236}">
                  <a16:creationId xmlns:a16="http://schemas.microsoft.com/office/drawing/2014/main" id="{8BD9F707-298D-3DE7-1783-1F7AC8F60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6720" y="8721481"/>
              <a:ext cx="116007" cy="54324"/>
            </a:xfrm>
            <a:custGeom>
              <a:avLst/>
              <a:gdLst>
                <a:gd name="T0" fmla="*/ 297 w 297"/>
                <a:gd name="T1" fmla="*/ 149 h 149"/>
                <a:gd name="T2" fmla="*/ 281 w 297"/>
                <a:gd name="T3" fmla="*/ 149 h 149"/>
                <a:gd name="T4" fmla="*/ 149 w 297"/>
                <a:gd name="T5" fmla="*/ 17 h 149"/>
                <a:gd name="T6" fmla="*/ 17 w 297"/>
                <a:gd name="T7" fmla="*/ 149 h 149"/>
                <a:gd name="T8" fmla="*/ 0 w 297"/>
                <a:gd name="T9" fmla="*/ 149 h 149"/>
                <a:gd name="T10" fmla="*/ 149 w 297"/>
                <a:gd name="T11" fmla="*/ 0 h 149"/>
                <a:gd name="T12" fmla="*/ 297 w 297"/>
                <a:gd name="T1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49">
                  <a:moveTo>
                    <a:pt x="297" y="149"/>
                  </a:moveTo>
                  <a:lnTo>
                    <a:pt x="281" y="149"/>
                  </a:lnTo>
                  <a:cubicBezTo>
                    <a:pt x="281" y="76"/>
                    <a:pt x="221" y="17"/>
                    <a:pt x="149" y="17"/>
                  </a:cubicBezTo>
                  <a:cubicBezTo>
                    <a:pt x="76" y="17"/>
                    <a:pt x="17" y="76"/>
                    <a:pt x="17" y="149"/>
                  </a:cubicBezTo>
                  <a:lnTo>
                    <a:pt x="0" y="149"/>
                  </a:lnTo>
                  <a:cubicBezTo>
                    <a:pt x="0" y="67"/>
                    <a:pt x="67" y="0"/>
                    <a:pt x="149" y="0"/>
                  </a:cubicBezTo>
                  <a:cubicBezTo>
                    <a:pt x="231" y="0"/>
                    <a:pt x="297" y="67"/>
                    <a:pt x="297" y="149"/>
                  </a:cubicBez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7" name="Freeform 436">
              <a:extLst>
                <a:ext uri="{FF2B5EF4-FFF2-40B4-BE49-F238E27FC236}">
                  <a16:creationId xmlns:a16="http://schemas.microsoft.com/office/drawing/2014/main" id="{470BC77A-5000-8C53-2FF7-9332352C5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20431" y="8659396"/>
              <a:ext cx="248587" cy="116409"/>
            </a:xfrm>
            <a:custGeom>
              <a:avLst/>
              <a:gdLst>
                <a:gd name="T0" fmla="*/ 619 w 636"/>
                <a:gd name="T1" fmla="*/ 318 h 318"/>
                <a:gd name="T2" fmla="*/ 600 w 636"/>
                <a:gd name="T3" fmla="*/ 264 h 318"/>
                <a:gd name="T4" fmla="*/ 544 w 636"/>
                <a:gd name="T5" fmla="*/ 238 h 318"/>
                <a:gd name="T6" fmla="*/ 541 w 636"/>
                <a:gd name="T7" fmla="*/ 171 h 318"/>
                <a:gd name="T8" fmla="*/ 556 w 636"/>
                <a:gd name="T9" fmla="*/ 130 h 318"/>
                <a:gd name="T10" fmla="*/ 479 w 636"/>
                <a:gd name="T11" fmla="*/ 80 h 318"/>
                <a:gd name="T12" fmla="*/ 421 w 636"/>
                <a:gd name="T13" fmla="*/ 102 h 318"/>
                <a:gd name="T14" fmla="*/ 372 w 636"/>
                <a:gd name="T15" fmla="*/ 55 h 318"/>
                <a:gd name="T16" fmla="*/ 353 w 636"/>
                <a:gd name="T17" fmla="*/ 17 h 318"/>
                <a:gd name="T18" fmla="*/ 264 w 636"/>
                <a:gd name="T19" fmla="*/ 36 h 318"/>
                <a:gd name="T20" fmla="*/ 238 w 636"/>
                <a:gd name="T21" fmla="*/ 92 h 318"/>
                <a:gd name="T22" fmla="*/ 171 w 636"/>
                <a:gd name="T23" fmla="*/ 94 h 318"/>
                <a:gd name="T24" fmla="*/ 143 w 636"/>
                <a:gd name="T25" fmla="*/ 75 h 318"/>
                <a:gd name="T26" fmla="*/ 80 w 636"/>
                <a:gd name="T27" fmla="*/ 130 h 318"/>
                <a:gd name="T28" fmla="*/ 94 w 636"/>
                <a:gd name="T29" fmla="*/ 170 h 318"/>
                <a:gd name="T30" fmla="*/ 91 w 636"/>
                <a:gd name="T31" fmla="*/ 239 h 318"/>
                <a:gd name="T32" fmla="*/ 38 w 636"/>
                <a:gd name="T33" fmla="*/ 264 h 318"/>
                <a:gd name="T34" fmla="*/ 17 w 636"/>
                <a:gd name="T35" fmla="*/ 318 h 318"/>
                <a:gd name="T36" fmla="*/ 0 w 636"/>
                <a:gd name="T37" fmla="*/ 283 h 318"/>
                <a:gd name="T38" fmla="*/ 56 w 636"/>
                <a:gd name="T39" fmla="*/ 247 h 318"/>
                <a:gd name="T40" fmla="*/ 86 w 636"/>
                <a:gd name="T41" fmla="*/ 207 h 318"/>
                <a:gd name="T42" fmla="*/ 68 w 636"/>
                <a:gd name="T43" fmla="*/ 168 h 318"/>
                <a:gd name="T44" fmla="*/ 68 w 636"/>
                <a:gd name="T45" fmla="*/ 118 h 318"/>
                <a:gd name="T46" fmla="*/ 144 w 636"/>
                <a:gd name="T47" fmla="*/ 58 h 318"/>
                <a:gd name="T48" fmla="*/ 183 w 636"/>
                <a:gd name="T49" fmla="*/ 83 h 318"/>
                <a:gd name="T50" fmla="*/ 232 w 636"/>
                <a:gd name="T51" fmla="*/ 76 h 318"/>
                <a:gd name="T52" fmla="*/ 247 w 636"/>
                <a:gd name="T53" fmla="*/ 36 h 318"/>
                <a:gd name="T54" fmla="*/ 353 w 636"/>
                <a:gd name="T55" fmla="*/ 0 h 318"/>
                <a:gd name="T56" fmla="*/ 389 w 636"/>
                <a:gd name="T57" fmla="*/ 55 h 318"/>
                <a:gd name="T58" fmla="*/ 428 w 636"/>
                <a:gd name="T59" fmla="*/ 87 h 318"/>
                <a:gd name="T60" fmla="*/ 467 w 636"/>
                <a:gd name="T61" fmla="*/ 68 h 318"/>
                <a:gd name="T62" fmla="*/ 567 w 636"/>
                <a:gd name="T63" fmla="*/ 118 h 318"/>
                <a:gd name="T64" fmla="*/ 553 w 636"/>
                <a:gd name="T65" fmla="*/ 183 h 318"/>
                <a:gd name="T66" fmla="*/ 560 w 636"/>
                <a:gd name="T67" fmla="*/ 232 h 318"/>
                <a:gd name="T68" fmla="*/ 600 w 636"/>
                <a:gd name="T69" fmla="*/ 247 h 318"/>
                <a:gd name="T70" fmla="*/ 636 w 636"/>
                <a:gd name="T71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6" h="318">
                  <a:moveTo>
                    <a:pt x="636" y="318"/>
                  </a:moveTo>
                  <a:lnTo>
                    <a:pt x="619" y="318"/>
                  </a:lnTo>
                  <a:lnTo>
                    <a:pt x="619" y="283"/>
                  </a:lnTo>
                  <a:cubicBezTo>
                    <a:pt x="619" y="272"/>
                    <a:pt x="611" y="264"/>
                    <a:pt x="600" y="264"/>
                  </a:cubicBezTo>
                  <a:lnTo>
                    <a:pt x="581" y="264"/>
                  </a:lnTo>
                  <a:cubicBezTo>
                    <a:pt x="564" y="264"/>
                    <a:pt x="549" y="253"/>
                    <a:pt x="544" y="238"/>
                  </a:cubicBezTo>
                  <a:cubicBezTo>
                    <a:pt x="541" y="230"/>
                    <a:pt x="538" y="221"/>
                    <a:pt x="534" y="214"/>
                  </a:cubicBezTo>
                  <a:cubicBezTo>
                    <a:pt x="527" y="199"/>
                    <a:pt x="530" y="182"/>
                    <a:pt x="541" y="171"/>
                  </a:cubicBezTo>
                  <a:lnTo>
                    <a:pt x="554" y="158"/>
                  </a:lnTo>
                  <a:cubicBezTo>
                    <a:pt x="563" y="149"/>
                    <a:pt x="563" y="137"/>
                    <a:pt x="556" y="130"/>
                  </a:cubicBezTo>
                  <a:lnTo>
                    <a:pt x="506" y="80"/>
                  </a:lnTo>
                  <a:cubicBezTo>
                    <a:pt x="499" y="73"/>
                    <a:pt x="486" y="73"/>
                    <a:pt x="479" y="80"/>
                  </a:cubicBezTo>
                  <a:lnTo>
                    <a:pt x="466" y="94"/>
                  </a:lnTo>
                  <a:cubicBezTo>
                    <a:pt x="454" y="105"/>
                    <a:pt x="436" y="109"/>
                    <a:pt x="421" y="102"/>
                  </a:cubicBezTo>
                  <a:cubicBezTo>
                    <a:pt x="414" y="98"/>
                    <a:pt x="406" y="95"/>
                    <a:pt x="398" y="92"/>
                  </a:cubicBezTo>
                  <a:cubicBezTo>
                    <a:pt x="382" y="86"/>
                    <a:pt x="372" y="72"/>
                    <a:pt x="372" y="55"/>
                  </a:cubicBezTo>
                  <a:lnTo>
                    <a:pt x="372" y="36"/>
                  </a:lnTo>
                  <a:cubicBezTo>
                    <a:pt x="372" y="25"/>
                    <a:pt x="363" y="17"/>
                    <a:pt x="353" y="17"/>
                  </a:cubicBezTo>
                  <a:lnTo>
                    <a:pt x="283" y="17"/>
                  </a:lnTo>
                  <a:cubicBezTo>
                    <a:pt x="272" y="17"/>
                    <a:pt x="264" y="25"/>
                    <a:pt x="264" y="36"/>
                  </a:cubicBezTo>
                  <a:lnTo>
                    <a:pt x="264" y="55"/>
                  </a:lnTo>
                  <a:cubicBezTo>
                    <a:pt x="264" y="72"/>
                    <a:pt x="253" y="86"/>
                    <a:pt x="238" y="92"/>
                  </a:cubicBezTo>
                  <a:cubicBezTo>
                    <a:pt x="230" y="95"/>
                    <a:pt x="221" y="98"/>
                    <a:pt x="214" y="102"/>
                  </a:cubicBezTo>
                  <a:cubicBezTo>
                    <a:pt x="199" y="109"/>
                    <a:pt x="182" y="106"/>
                    <a:pt x="171" y="94"/>
                  </a:cubicBezTo>
                  <a:lnTo>
                    <a:pt x="158" y="82"/>
                  </a:lnTo>
                  <a:cubicBezTo>
                    <a:pt x="154" y="77"/>
                    <a:pt x="148" y="75"/>
                    <a:pt x="143" y="75"/>
                  </a:cubicBezTo>
                  <a:cubicBezTo>
                    <a:pt x="138" y="74"/>
                    <a:pt x="133" y="76"/>
                    <a:pt x="130" y="80"/>
                  </a:cubicBezTo>
                  <a:lnTo>
                    <a:pt x="80" y="130"/>
                  </a:lnTo>
                  <a:cubicBezTo>
                    <a:pt x="73" y="137"/>
                    <a:pt x="73" y="149"/>
                    <a:pt x="80" y="156"/>
                  </a:cubicBezTo>
                  <a:lnTo>
                    <a:pt x="94" y="170"/>
                  </a:lnTo>
                  <a:cubicBezTo>
                    <a:pt x="105" y="182"/>
                    <a:pt x="109" y="200"/>
                    <a:pt x="101" y="214"/>
                  </a:cubicBezTo>
                  <a:cubicBezTo>
                    <a:pt x="98" y="222"/>
                    <a:pt x="94" y="231"/>
                    <a:pt x="91" y="239"/>
                  </a:cubicBezTo>
                  <a:cubicBezTo>
                    <a:pt x="86" y="254"/>
                    <a:pt x="72" y="264"/>
                    <a:pt x="56" y="264"/>
                  </a:cubicBezTo>
                  <a:lnTo>
                    <a:pt x="38" y="264"/>
                  </a:lnTo>
                  <a:cubicBezTo>
                    <a:pt x="26" y="264"/>
                    <a:pt x="17" y="272"/>
                    <a:pt x="17" y="283"/>
                  </a:cubicBezTo>
                  <a:lnTo>
                    <a:pt x="17" y="318"/>
                  </a:lnTo>
                  <a:lnTo>
                    <a:pt x="0" y="318"/>
                  </a:lnTo>
                  <a:lnTo>
                    <a:pt x="0" y="283"/>
                  </a:lnTo>
                  <a:cubicBezTo>
                    <a:pt x="0" y="262"/>
                    <a:pt x="16" y="247"/>
                    <a:pt x="38" y="247"/>
                  </a:cubicBezTo>
                  <a:lnTo>
                    <a:pt x="56" y="247"/>
                  </a:lnTo>
                  <a:cubicBezTo>
                    <a:pt x="65" y="247"/>
                    <a:pt x="73" y="242"/>
                    <a:pt x="76" y="233"/>
                  </a:cubicBezTo>
                  <a:cubicBezTo>
                    <a:pt x="79" y="225"/>
                    <a:pt x="82" y="216"/>
                    <a:pt x="86" y="207"/>
                  </a:cubicBezTo>
                  <a:cubicBezTo>
                    <a:pt x="90" y="199"/>
                    <a:pt x="89" y="189"/>
                    <a:pt x="82" y="182"/>
                  </a:cubicBezTo>
                  <a:lnTo>
                    <a:pt x="68" y="168"/>
                  </a:lnTo>
                  <a:cubicBezTo>
                    <a:pt x="61" y="162"/>
                    <a:pt x="58" y="153"/>
                    <a:pt x="58" y="143"/>
                  </a:cubicBezTo>
                  <a:cubicBezTo>
                    <a:pt x="58" y="134"/>
                    <a:pt x="61" y="125"/>
                    <a:pt x="68" y="118"/>
                  </a:cubicBezTo>
                  <a:lnTo>
                    <a:pt x="118" y="68"/>
                  </a:lnTo>
                  <a:cubicBezTo>
                    <a:pt x="125" y="61"/>
                    <a:pt x="133" y="58"/>
                    <a:pt x="144" y="58"/>
                  </a:cubicBezTo>
                  <a:cubicBezTo>
                    <a:pt x="153" y="58"/>
                    <a:pt x="163" y="63"/>
                    <a:pt x="170" y="70"/>
                  </a:cubicBezTo>
                  <a:lnTo>
                    <a:pt x="183" y="83"/>
                  </a:lnTo>
                  <a:cubicBezTo>
                    <a:pt x="189" y="89"/>
                    <a:pt x="198" y="91"/>
                    <a:pt x="206" y="87"/>
                  </a:cubicBezTo>
                  <a:cubicBezTo>
                    <a:pt x="215" y="83"/>
                    <a:pt x="223" y="79"/>
                    <a:pt x="232" y="76"/>
                  </a:cubicBezTo>
                  <a:cubicBezTo>
                    <a:pt x="241" y="73"/>
                    <a:pt x="247" y="64"/>
                    <a:pt x="247" y="55"/>
                  </a:cubicBezTo>
                  <a:lnTo>
                    <a:pt x="247" y="36"/>
                  </a:lnTo>
                  <a:cubicBezTo>
                    <a:pt x="247" y="16"/>
                    <a:pt x="263" y="0"/>
                    <a:pt x="283" y="0"/>
                  </a:cubicBezTo>
                  <a:lnTo>
                    <a:pt x="353" y="0"/>
                  </a:lnTo>
                  <a:cubicBezTo>
                    <a:pt x="373" y="0"/>
                    <a:pt x="389" y="16"/>
                    <a:pt x="389" y="36"/>
                  </a:cubicBezTo>
                  <a:lnTo>
                    <a:pt x="389" y="55"/>
                  </a:lnTo>
                  <a:cubicBezTo>
                    <a:pt x="389" y="64"/>
                    <a:pt x="394" y="73"/>
                    <a:pt x="403" y="76"/>
                  </a:cubicBezTo>
                  <a:cubicBezTo>
                    <a:pt x="412" y="79"/>
                    <a:pt x="420" y="83"/>
                    <a:pt x="428" y="87"/>
                  </a:cubicBezTo>
                  <a:cubicBezTo>
                    <a:pt x="437" y="91"/>
                    <a:pt x="447" y="89"/>
                    <a:pt x="454" y="82"/>
                  </a:cubicBezTo>
                  <a:lnTo>
                    <a:pt x="467" y="68"/>
                  </a:lnTo>
                  <a:cubicBezTo>
                    <a:pt x="481" y="55"/>
                    <a:pt x="504" y="55"/>
                    <a:pt x="518" y="68"/>
                  </a:cubicBezTo>
                  <a:lnTo>
                    <a:pt x="567" y="118"/>
                  </a:lnTo>
                  <a:cubicBezTo>
                    <a:pt x="582" y="132"/>
                    <a:pt x="581" y="155"/>
                    <a:pt x="566" y="170"/>
                  </a:cubicBezTo>
                  <a:lnTo>
                    <a:pt x="553" y="183"/>
                  </a:lnTo>
                  <a:cubicBezTo>
                    <a:pt x="547" y="189"/>
                    <a:pt x="545" y="199"/>
                    <a:pt x="549" y="206"/>
                  </a:cubicBezTo>
                  <a:cubicBezTo>
                    <a:pt x="553" y="215"/>
                    <a:pt x="556" y="224"/>
                    <a:pt x="560" y="232"/>
                  </a:cubicBezTo>
                  <a:cubicBezTo>
                    <a:pt x="563" y="241"/>
                    <a:pt x="571" y="247"/>
                    <a:pt x="581" y="247"/>
                  </a:cubicBezTo>
                  <a:lnTo>
                    <a:pt x="600" y="247"/>
                  </a:lnTo>
                  <a:cubicBezTo>
                    <a:pt x="620" y="247"/>
                    <a:pt x="636" y="263"/>
                    <a:pt x="636" y="283"/>
                  </a:cubicBezTo>
                  <a:lnTo>
                    <a:pt x="636" y="318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8" name="Freeform 437">
              <a:extLst>
                <a:ext uri="{FF2B5EF4-FFF2-40B4-BE49-F238E27FC236}">
                  <a16:creationId xmlns:a16="http://schemas.microsoft.com/office/drawing/2014/main" id="{E5262D4A-EB90-DFD2-28B5-06C189B0B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6392" y="8463658"/>
              <a:ext cx="446536" cy="309561"/>
            </a:xfrm>
            <a:custGeom>
              <a:avLst/>
              <a:gdLst>
                <a:gd name="T0" fmla="*/ 17 w 1143"/>
                <a:gd name="T1" fmla="*/ 96 h 844"/>
                <a:gd name="T2" fmla="*/ 17 w 1143"/>
                <a:gd name="T3" fmla="*/ 775 h 844"/>
                <a:gd name="T4" fmla="*/ 69 w 1143"/>
                <a:gd name="T5" fmla="*/ 827 h 844"/>
                <a:gd name="T6" fmla="*/ 122 w 1143"/>
                <a:gd name="T7" fmla="*/ 775 h 844"/>
                <a:gd name="T8" fmla="*/ 122 w 1143"/>
                <a:gd name="T9" fmla="*/ 96 h 844"/>
                <a:gd name="T10" fmla="*/ 17 w 1143"/>
                <a:gd name="T11" fmla="*/ 96 h 844"/>
                <a:gd name="T12" fmla="*/ 69 w 1143"/>
                <a:gd name="T13" fmla="*/ 844 h 844"/>
                <a:gd name="T14" fmla="*/ 0 w 1143"/>
                <a:gd name="T15" fmla="*/ 775 h 844"/>
                <a:gd name="T16" fmla="*/ 0 w 1143"/>
                <a:gd name="T17" fmla="*/ 80 h 844"/>
                <a:gd name="T18" fmla="*/ 122 w 1143"/>
                <a:gd name="T19" fmla="*/ 80 h 844"/>
                <a:gd name="T20" fmla="*/ 122 w 1143"/>
                <a:gd name="T21" fmla="*/ 0 h 844"/>
                <a:gd name="T22" fmla="*/ 455 w 1143"/>
                <a:gd name="T23" fmla="*/ 0 h 844"/>
                <a:gd name="T24" fmla="*/ 525 w 1143"/>
                <a:gd name="T25" fmla="*/ 98 h 844"/>
                <a:gd name="T26" fmla="*/ 1143 w 1143"/>
                <a:gd name="T27" fmla="*/ 98 h 844"/>
                <a:gd name="T28" fmla="*/ 1143 w 1143"/>
                <a:gd name="T29" fmla="*/ 150 h 844"/>
                <a:gd name="T30" fmla="*/ 1126 w 1143"/>
                <a:gd name="T31" fmla="*/ 150 h 844"/>
                <a:gd name="T32" fmla="*/ 1126 w 1143"/>
                <a:gd name="T33" fmla="*/ 114 h 844"/>
                <a:gd name="T34" fmla="*/ 516 w 1143"/>
                <a:gd name="T35" fmla="*/ 114 h 844"/>
                <a:gd name="T36" fmla="*/ 447 w 1143"/>
                <a:gd name="T37" fmla="*/ 17 h 844"/>
                <a:gd name="T38" fmla="*/ 138 w 1143"/>
                <a:gd name="T39" fmla="*/ 17 h 844"/>
                <a:gd name="T40" fmla="*/ 138 w 1143"/>
                <a:gd name="T41" fmla="*/ 775 h 844"/>
                <a:gd name="T42" fmla="*/ 69 w 1143"/>
                <a:gd name="T43" fmla="*/ 844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3" h="844">
                  <a:moveTo>
                    <a:pt x="17" y="96"/>
                  </a:moveTo>
                  <a:lnTo>
                    <a:pt x="17" y="775"/>
                  </a:lnTo>
                  <a:cubicBezTo>
                    <a:pt x="17" y="804"/>
                    <a:pt x="40" y="827"/>
                    <a:pt x="69" y="827"/>
                  </a:cubicBezTo>
                  <a:cubicBezTo>
                    <a:pt x="98" y="827"/>
                    <a:pt x="122" y="804"/>
                    <a:pt x="122" y="775"/>
                  </a:cubicBezTo>
                  <a:lnTo>
                    <a:pt x="122" y="96"/>
                  </a:lnTo>
                  <a:lnTo>
                    <a:pt x="17" y="96"/>
                  </a:lnTo>
                  <a:close/>
                  <a:moveTo>
                    <a:pt x="69" y="844"/>
                  </a:moveTo>
                  <a:cubicBezTo>
                    <a:pt x="31" y="844"/>
                    <a:pt x="0" y="813"/>
                    <a:pt x="0" y="775"/>
                  </a:cubicBezTo>
                  <a:lnTo>
                    <a:pt x="0" y="80"/>
                  </a:lnTo>
                  <a:lnTo>
                    <a:pt x="122" y="80"/>
                  </a:lnTo>
                  <a:lnTo>
                    <a:pt x="122" y="0"/>
                  </a:lnTo>
                  <a:lnTo>
                    <a:pt x="455" y="0"/>
                  </a:lnTo>
                  <a:lnTo>
                    <a:pt x="525" y="98"/>
                  </a:lnTo>
                  <a:lnTo>
                    <a:pt x="1143" y="98"/>
                  </a:lnTo>
                  <a:lnTo>
                    <a:pt x="1143" y="150"/>
                  </a:lnTo>
                  <a:lnTo>
                    <a:pt x="1126" y="150"/>
                  </a:lnTo>
                  <a:lnTo>
                    <a:pt x="1126" y="114"/>
                  </a:lnTo>
                  <a:lnTo>
                    <a:pt x="516" y="114"/>
                  </a:lnTo>
                  <a:lnTo>
                    <a:pt x="447" y="17"/>
                  </a:lnTo>
                  <a:lnTo>
                    <a:pt x="138" y="17"/>
                  </a:lnTo>
                  <a:lnTo>
                    <a:pt x="138" y="775"/>
                  </a:lnTo>
                  <a:cubicBezTo>
                    <a:pt x="138" y="813"/>
                    <a:pt x="107" y="844"/>
                    <a:pt x="69" y="844"/>
                  </a:cubicBezTo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49" name="Freeform 438">
              <a:extLst>
                <a:ext uri="{FF2B5EF4-FFF2-40B4-BE49-F238E27FC236}">
                  <a16:creationId xmlns:a16="http://schemas.microsoft.com/office/drawing/2014/main" id="{CEC86DE0-EEE2-F57B-003B-44AAF3C9F3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9254" y="8410196"/>
              <a:ext cx="334212" cy="92265"/>
            </a:xfrm>
            <a:custGeom>
              <a:avLst/>
              <a:gdLst>
                <a:gd name="T0" fmla="*/ 363 w 363"/>
                <a:gd name="T1" fmla="*/ 107 h 107"/>
                <a:gd name="T2" fmla="*/ 355 w 363"/>
                <a:gd name="T3" fmla="*/ 107 h 107"/>
                <a:gd name="T4" fmla="*/ 355 w 363"/>
                <a:gd name="T5" fmla="*/ 7 h 107"/>
                <a:gd name="T6" fmla="*/ 8 w 363"/>
                <a:gd name="T7" fmla="*/ 7 h 107"/>
                <a:gd name="T8" fmla="*/ 8 w 363"/>
                <a:gd name="T9" fmla="*/ 65 h 107"/>
                <a:gd name="T10" fmla="*/ 0 w 363"/>
                <a:gd name="T11" fmla="*/ 65 h 107"/>
                <a:gd name="T12" fmla="*/ 0 w 363"/>
                <a:gd name="T13" fmla="*/ 0 h 107"/>
                <a:gd name="T14" fmla="*/ 363 w 363"/>
                <a:gd name="T15" fmla="*/ 0 h 107"/>
                <a:gd name="T16" fmla="*/ 363 w 363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107">
                  <a:moveTo>
                    <a:pt x="363" y="107"/>
                  </a:moveTo>
                  <a:lnTo>
                    <a:pt x="355" y="107"/>
                  </a:lnTo>
                  <a:lnTo>
                    <a:pt x="355" y="7"/>
                  </a:lnTo>
                  <a:lnTo>
                    <a:pt x="8" y="7"/>
                  </a:lnTo>
                  <a:lnTo>
                    <a:pt x="8" y="65"/>
                  </a:lnTo>
                  <a:lnTo>
                    <a:pt x="0" y="65"/>
                  </a:lnTo>
                  <a:lnTo>
                    <a:pt x="0" y="0"/>
                  </a:lnTo>
                  <a:lnTo>
                    <a:pt x="363" y="0"/>
                  </a:lnTo>
                  <a:lnTo>
                    <a:pt x="363" y="107"/>
                  </a:lnTo>
                  <a:close/>
                </a:path>
              </a:pathLst>
            </a:custGeom>
            <a:no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  <p:sp>
          <p:nvSpPr>
            <p:cNvPr id="1050" name="Rectangle 439">
              <a:extLst>
                <a:ext uri="{FF2B5EF4-FFF2-40B4-BE49-F238E27FC236}">
                  <a16:creationId xmlns:a16="http://schemas.microsoft.com/office/drawing/2014/main" id="{1188B4D1-E26A-F2C6-3AF9-7B015A0423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3092" y="8766320"/>
              <a:ext cx="58924" cy="6898"/>
            </a:xfrm>
            <a:prstGeom prst="rect">
              <a:avLst/>
            </a:prstGeom>
            <a:no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45720" tIns="457200" rIns="45720" bIns="228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4744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8D84720-2EEF-67F6-70CF-5B57BA09DE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7391" y="5110952"/>
            <a:ext cx="3066920" cy="560006"/>
          </a:xfrm>
        </p:spPr>
        <p:txBody>
          <a:bodyPr/>
          <a:lstStyle/>
          <a:p>
            <a:pPr algn="l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pic>
        <p:nvPicPr>
          <p:cNvPr id="4" name="Picture 3" descr="Text&#10;&#10;Description automatically generated with medium confidence">
            <a:extLst>
              <a:ext uri="{FF2B5EF4-FFF2-40B4-BE49-F238E27FC236}">
                <a16:creationId xmlns:a16="http://schemas.microsoft.com/office/drawing/2014/main" id="{1E8F04C8-B05C-D909-721B-2DB935CD2E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42" y="4941664"/>
            <a:ext cx="3066920" cy="729294"/>
          </a:xfrm>
          <a:prstGeom prst="rect">
            <a:avLst/>
          </a:prstGeom>
        </p:spPr>
      </p:pic>
      <p:pic>
        <p:nvPicPr>
          <p:cNvPr id="2" name="Picture 1" descr="A logo with text on it&#10;&#10;Description automatically generated">
            <a:extLst>
              <a:ext uri="{FF2B5EF4-FFF2-40B4-BE49-F238E27FC236}">
                <a16:creationId xmlns:a16="http://schemas.microsoft.com/office/drawing/2014/main" id="{07F2B445-EE9B-2237-2503-2D69FC996C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000" y="-559999"/>
            <a:ext cx="3847381" cy="192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485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Data 7">
            <a:extLst>
              <a:ext uri="{FF2B5EF4-FFF2-40B4-BE49-F238E27FC236}">
                <a16:creationId xmlns:a16="http://schemas.microsoft.com/office/drawing/2014/main" id="{314D2263-763A-D9D3-3A9A-181B2F058285}"/>
              </a:ext>
            </a:extLst>
          </p:cNvPr>
          <p:cNvSpPr/>
          <p:nvPr/>
        </p:nvSpPr>
        <p:spPr>
          <a:xfrm>
            <a:off x="854034" y="3897390"/>
            <a:ext cx="666379" cy="635506"/>
          </a:xfrm>
          <a:prstGeom prst="flowChartInputOutpu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E5BC577-784B-BB35-3437-91D1892EB7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9790" y="3897390"/>
            <a:ext cx="8696802" cy="635506"/>
          </a:xfrm>
        </p:spPr>
        <p:txBody>
          <a:bodyPr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kern="1200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rPr>
              <a:t>Professional Accreditation</a:t>
            </a:r>
            <a:r>
              <a:rPr lang="en-US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rPr>
              <a:t> O</a:t>
            </a:r>
            <a:r>
              <a:rPr lang="en-US" sz="2800" b="1" kern="1200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Effra" panose="020B0603020203020204" pitchFamily="34" charset="0"/>
              </a:rPr>
              <a:t>verview</a:t>
            </a:r>
            <a:endParaRPr lang="ar-SA" sz="2800" b="1" kern="1200" noProof="0" dirty="0">
              <a:solidFill>
                <a:srgbClr val="15828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658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44100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LEADERSHIP MESSAGE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ct val="0"/>
              </a:spcBef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1. </a:t>
            </a:r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Accreditation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O</a:t>
            </a:r>
            <a:r>
              <a:rPr lang="en-US" sz="2400" b="1" kern="12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verview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26" name="Round Same Side Corner Rectangle 11">
            <a:extLst>
              <a:ext uri="{FF2B5EF4-FFF2-40B4-BE49-F238E27FC236}">
                <a16:creationId xmlns:a16="http://schemas.microsoft.com/office/drawing/2014/main" id="{D0391331-B5CA-1DC6-667E-4F8DC679C47E}"/>
              </a:ext>
            </a:extLst>
          </p:cNvPr>
          <p:cNvSpPr/>
          <p:nvPr/>
        </p:nvSpPr>
        <p:spPr>
          <a:xfrm>
            <a:off x="4249301" y="2305049"/>
            <a:ext cx="7176197" cy="2605349"/>
          </a:xfrm>
          <a:prstGeom prst="roundRect">
            <a:avLst>
              <a:gd name="adj" fmla="val 2879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A person wearing a hat&#10;&#10;Description automatically generated">
            <a:extLst>
              <a:ext uri="{FF2B5EF4-FFF2-40B4-BE49-F238E27FC236}">
                <a16:creationId xmlns:a16="http://schemas.microsoft.com/office/drawing/2014/main" id="{5C8CB0F0-07FA-4311-A079-50C3E3ADAE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389" y="1804559"/>
            <a:ext cx="2638792" cy="265224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D490903-E8B2-79E4-720A-79068133F8CD}"/>
              </a:ext>
            </a:extLst>
          </p:cNvPr>
          <p:cNvSpPr txBox="1"/>
          <p:nvPr/>
        </p:nvSpPr>
        <p:spPr>
          <a:xfrm>
            <a:off x="708059" y="4541066"/>
            <a:ext cx="333844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rown Prince, His Royal Highness</a:t>
            </a:r>
          </a:p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hammed bin Salman</a:t>
            </a:r>
          </a:p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in Abdulaziz Al Saud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54BAB9A-E2F4-1E50-16BF-EFE71A101E05}"/>
              </a:ext>
            </a:extLst>
          </p:cNvPr>
          <p:cNvGrpSpPr/>
          <p:nvPr/>
        </p:nvGrpSpPr>
        <p:grpSpPr>
          <a:xfrm>
            <a:off x="10334439" y="2401950"/>
            <a:ext cx="1012503" cy="1008000"/>
            <a:chOff x="10346319" y="2535376"/>
            <a:chExt cx="1012503" cy="100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73A2AD7-5F8A-8242-5658-4B89BD17D8CF}"/>
                </a:ext>
              </a:extLst>
            </p:cNvPr>
            <p:cNvCxnSpPr/>
            <p:nvPr/>
          </p:nvCxnSpPr>
          <p:spPr>
            <a:xfrm flipH="1" flipV="1">
              <a:off x="11358822" y="2535376"/>
              <a:ext cx="0" cy="100800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D77B332-0551-087A-FFEE-7EF3927D5D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346319" y="2544902"/>
              <a:ext cx="10080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BC7DA7B-9179-4E2D-8C16-31251B9482AD}"/>
              </a:ext>
            </a:extLst>
          </p:cNvPr>
          <p:cNvGrpSpPr/>
          <p:nvPr/>
        </p:nvGrpSpPr>
        <p:grpSpPr>
          <a:xfrm>
            <a:off x="4339053" y="3799618"/>
            <a:ext cx="1008000" cy="1008000"/>
            <a:chOff x="4692279" y="3810710"/>
            <a:chExt cx="1008000" cy="100800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C1523A9-5D42-D132-5526-D8332AF64ACD}"/>
                </a:ext>
              </a:extLst>
            </p:cNvPr>
            <p:cNvCxnSpPr/>
            <p:nvPr/>
          </p:nvCxnSpPr>
          <p:spPr>
            <a:xfrm flipH="1" flipV="1">
              <a:off x="4692279" y="3810710"/>
              <a:ext cx="0" cy="100800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8B7DB61-2F98-743A-C081-7C2F380C0D1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92279" y="4818710"/>
              <a:ext cx="1008000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19E2EED-B63A-D0EE-2D24-DC916B67ABAF}"/>
              </a:ext>
            </a:extLst>
          </p:cNvPr>
          <p:cNvSpPr txBox="1"/>
          <p:nvPr/>
        </p:nvSpPr>
        <p:spPr>
          <a:xfrm>
            <a:off x="4495276" y="2635993"/>
            <a:ext cx="6715343" cy="1905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arding the rights of expats, we have taken multiple measures to restructure the contractual relationship in a way that preserves their rights and contributes to raising the degree of maturity in the labor market, </a:t>
            </a:r>
            <a:r>
              <a:rPr lang="en-US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 attract qualified workers with an added value to the Kingdom</a:t>
            </a:r>
          </a:p>
        </p:txBody>
      </p:sp>
    </p:spTree>
    <p:extLst>
      <p:ext uri="{BB962C8B-B14F-4D97-AF65-F5344CB8AC3E}">
        <p14:creationId xmlns:p14="http://schemas.microsoft.com/office/powerpoint/2010/main" val="16813401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44100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The Labor Market Strategy aims to promote and regulate the admission of worke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ct val="0"/>
              </a:spcBef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1. </a:t>
            </a:r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Accreditation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O</a:t>
            </a:r>
            <a:r>
              <a:rPr lang="en-US" sz="2400" b="1" kern="12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verview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26" name="Round Same Side Corner Rectangle 11">
            <a:extLst>
              <a:ext uri="{FF2B5EF4-FFF2-40B4-BE49-F238E27FC236}">
                <a16:creationId xmlns:a16="http://schemas.microsoft.com/office/drawing/2014/main" id="{D0391331-B5CA-1DC6-667E-4F8DC679C47E}"/>
              </a:ext>
            </a:extLst>
          </p:cNvPr>
          <p:cNvSpPr/>
          <p:nvPr/>
        </p:nvSpPr>
        <p:spPr>
          <a:xfrm>
            <a:off x="690666" y="1491037"/>
            <a:ext cx="5329497" cy="4411600"/>
          </a:xfrm>
          <a:prstGeom prst="roundRect">
            <a:avLst>
              <a:gd name="adj" fmla="val 2879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C23B700-5F20-58AE-80BC-DB8158E1544D}"/>
              </a:ext>
            </a:extLst>
          </p:cNvPr>
          <p:cNvSpPr txBox="1">
            <a:spLocks/>
          </p:cNvSpPr>
          <p:nvPr/>
        </p:nvSpPr>
        <p:spPr>
          <a:xfrm flipH="1">
            <a:off x="820537" y="1659674"/>
            <a:ext cx="2431867" cy="4127173"/>
          </a:xfrm>
          <a:prstGeom prst="round2DiagRect">
            <a:avLst>
              <a:gd name="adj1" fmla="val 13826"/>
              <a:gd name="adj2" fmla="val 0"/>
            </a:avLst>
          </a:prstGeom>
          <a:solidFill>
            <a:schemeClr val="accent2"/>
          </a:solidFill>
          <a:ln>
            <a:noFill/>
          </a:ln>
          <a:effectLst>
            <a:outerShdw blurRad="203200" dist="38100" dir="2700000" algn="tl" rotWithShape="0">
              <a:prstClr val="black">
                <a:alpha val="12000"/>
              </a:prstClr>
            </a:outerShdw>
          </a:effectLst>
        </p:spPr>
        <p:txBody>
          <a:bodyPr vert="horz" wrap="square" lIns="288000" tIns="1008000" rIns="91440" bIns="0" rtlCol="0" anchor="ctr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>
                <a:solidFill>
                  <a:schemeClr val="accent1"/>
                </a:solidFill>
                <a:latin typeface="29LT Bukra" panose="020B0504040000000004" pitchFamily="34" charset="-78"/>
                <a:ea typeface="+mj-ea"/>
                <a:cs typeface="29LT Bukra" panose="020B0504040000000004" pitchFamily="34" charset="-78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0489D5F-5669-0C15-4CA3-82561F9D0CFD}"/>
              </a:ext>
            </a:extLst>
          </p:cNvPr>
          <p:cNvGrpSpPr/>
          <p:nvPr/>
        </p:nvGrpSpPr>
        <p:grpSpPr>
          <a:xfrm>
            <a:off x="1353612" y="1769464"/>
            <a:ext cx="1365713" cy="1361238"/>
            <a:chOff x="693404" y="1573601"/>
            <a:chExt cx="2021363" cy="202136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F9DEE3E-EE34-F3C8-9468-0BD6C34328CF}"/>
                </a:ext>
              </a:extLst>
            </p:cNvPr>
            <p:cNvSpPr/>
            <p:nvPr/>
          </p:nvSpPr>
          <p:spPr>
            <a:xfrm>
              <a:off x="693404" y="1573601"/>
              <a:ext cx="2021363" cy="2021360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</a:ln>
            <a:effectLst>
              <a:outerShdw blurRad="76200" dist="38100" dir="2700000" algn="tl" rotWithShape="0">
                <a:prstClr val="black">
                  <a:alpha val="14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Picture 10" descr="شعار رؤية 2030 Png - نصائح مالية">
              <a:extLst>
                <a:ext uri="{FF2B5EF4-FFF2-40B4-BE49-F238E27FC236}">
                  <a16:creationId xmlns:a16="http://schemas.microsoft.com/office/drawing/2014/main" id="{3A408833-2DFB-1182-F770-46B2AAC9A3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381"/>
            <a:stretch/>
          </p:blipFill>
          <p:spPr bwMode="auto">
            <a:xfrm>
              <a:off x="1003610" y="1857802"/>
              <a:ext cx="1411716" cy="13357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6A46C69-AAC8-B867-FE12-CF6748D02A88}"/>
              </a:ext>
            </a:extLst>
          </p:cNvPr>
          <p:cNvCxnSpPr>
            <a:cxnSpLocks/>
          </p:cNvCxnSpPr>
          <p:nvPr/>
        </p:nvCxnSpPr>
        <p:spPr>
          <a:xfrm>
            <a:off x="3331178" y="1659674"/>
            <a:ext cx="0" cy="4078461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dash"/>
            <a:miter lim="800000"/>
          </a:ln>
          <a:effectLst/>
        </p:spPr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5AA47B15-5751-78F7-5084-B7BEF3FE24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2804" y="1891014"/>
            <a:ext cx="1332804" cy="1090475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7BA572E-59C0-7606-D778-782536FDC556}"/>
              </a:ext>
            </a:extLst>
          </p:cNvPr>
          <p:cNvSpPr txBox="1"/>
          <p:nvPr/>
        </p:nvSpPr>
        <p:spPr>
          <a:xfrm>
            <a:off x="3398249" y="3100941"/>
            <a:ext cx="2621914" cy="263719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  <a:defRPr/>
            </a:pPr>
            <a:r>
              <a:rPr lang="en-US" sz="1400" b="1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 Market Vision: </a:t>
            </a:r>
          </a:p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202124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 dynamic labor market that strategically attracts both local and international talent, offering promising prospects for its citizens and ensuring a high quality of life. It plays a major role in facilitating the transition towards a diversified and prosperous economy, equipped with the necessary elements to effectively address present and future challenges.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50C4DA1-400F-5E34-46D2-72CC9B66C533}"/>
              </a:ext>
            </a:extLst>
          </p:cNvPr>
          <p:cNvGrpSpPr/>
          <p:nvPr/>
        </p:nvGrpSpPr>
        <p:grpSpPr>
          <a:xfrm>
            <a:off x="6166008" y="3426859"/>
            <a:ext cx="590304" cy="344488"/>
            <a:chOff x="5707057" y="3282281"/>
            <a:chExt cx="590305" cy="344488"/>
          </a:xfrm>
          <a:solidFill>
            <a:schemeClr val="accent2"/>
          </a:solidFill>
        </p:grpSpPr>
        <p:sp>
          <p:nvSpPr>
            <p:cNvPr id="42" name="Freeform 456">
              <a:extLst>
                <a:ext uri="{FF2B5EF4-FFF2-40B4-BE49-F238E27FC236}">
                  <a16:creationId xmlns:a16="http://schemas.microsoft.com/office/drawing/2014/main" id="{79F12913-9256-60E9-8A28-D7C474DE4278}"/>
                </a:ext>
              </a:extLst>
            </p:cNvPr>
            <p:cNvSpPr>
              <a:spLocks/>
            </p:cNvSpPr>
            <p:nvPr/>
          </p:nvSpPr>
          <p:spPr bwMode="auto">
            <a:xfrm rot="151280">
              <a:off x="5997324" y="3282281"/>
              <a:ext cx="300038" cy="344488"/>
            </a:xfrm>
            <a:custGeom>
              <a:avLst/>
              <a:gdLst>
                <a:gd name="T0" fmla="*/ 0 w 189"/>
                <a:gd name="T1" fmla="*/ 0 h 217"/>
                <a:gd name="T2" fmla="*/ 83 w 189"/>
                <a:gd name="T3" fmla="*/ 0 h 217"/>
                <a:gd name="T4" fmla="*/ 189 w 189"/>
                <a:gd name="T5" fmla="*/ 108 h 217"/>
                <a:gd name="T6" fmla="*/ 83 w 189"/>
                <a:gd name="T7" fmla="*/ 217 h 217"/>
                <a:gd name="T8" fmla="*/ 0 w 189"/>
                <a:gd name="T9" fmla="*/ 217 h 217"/>
                <a:gd name="T10" fmla="*/ 109 w 189"/>
                <a:gd name="T11" fmla="*/ 108 h 217"/>
                <a:gd name="T12" fmla="*/ 0 w 189"/>
                <a:gd name="T13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217">
                  <a:moveTo>
                    <a:pt x="0" y="0"/>
                  </a:moveTo>
                  <a:lnTo>
                    <a:pt x="83" y="0"/>
                  </a:lnTo>
                  <a:lnTo>
                    <a:pt x="189" y="108"/>
                  </a:lnTo>
                  <a:lnTo>
                    <a:pt x="83" y="217"/>
                  </a:lnTo>
                  <a:lnTo>
                    <a:pt x="0" y="217"/>
                  </a:lnTo>
                  <a:lnTo>
                    <a:pt x="109" y="1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456">
              <a:extLst>
                <a:ext uri="{FF2B5EF4-FFF2-40B4-BE49-F238E27FC236}">
                  <a16:creationId xmlns:a16="http://schemas.microsoft.com/office/drawing/2014/main" id="{62C1556F-99F9-8F5A-B5D9-9BEC0DEC5847}"/>
                </a:ext>
              </a:extLst>
            </p:cNvPr>
            <p:cNvSpPr>
              <a:spLocks/>
            </p:cNvSpPr>
            <p:nvPr/>
          </p:nvSpPr>
          <p:spPr bwMode="auto">
            <a:xfrm rot="151280">
              <a:off x="5707057" y="3282281"/>
              <a:ext cx="300038" cy="344488"/>
            </a:xfrm>
            <a:custGeom>
              <a:avLst/>
              <a:gdLst>
                <a:gd name="T0" fmla="*/ 0 w 189"/>
                <a:gd name="T1" fmla="*/ 0 h 217"/>
                <a:gd name="T2" fmla="*/ 83 w 189"/>
                <a:gd name="T3" fmla="*/ 0 h 217"/>
                <a:gd name="T4" fmla="*/ 189 w 189"/>
                <a:gd name="T5" fmla="*/ 108 h 217"/>
                <a:gd name="T6" fmla="*/ 83 w 189"/>
                <a:gd name="T7" fmla="*/ 217 h 217"/>
                <a:gd name="T8" fmla="*/ 0 w 189"/>
                <a:gd name="T9" fmla="*/ 217 h 217"/>
                <a:gd name="T10" fmla="*/ 109 w 189"/>
                <a:gd name="T11" fmla="*/ 108 h 217"/>
                <a:gd name="T12" fmla="*/ 0 w 189"/>
                <a:gd name="T13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217">
                  <a:moveTo>
                    <a:pt x="0" y="0"/>
                  </a:moveTo>
                  <a:lnTo>
                    <a:pt x="83" y="0"/>
                  </a:lnTo>
                  <a:lnTo>
                    <a:pt x="189" y="108"/>
                  </a:lnTo>
                  <a:lnTo>
                    <a:pt x="83" y="217"/>
                  </a:lnTo>
                  <a:lnTo>
                    <a:pt x="0" y="217"/>
                  </a:lnTo>
                  <a:lnTo>
                    <a:pt x="109" y="1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85B4489-9342-9214-EA10-A55F3C0E637E}"/>
              </a:ext>
            </a:extLst>
          </p:cNvPr>
          <p:cNvGrpSpPr/>
          <p:nvPr/>
        </p:nvGrpSpPr>
        <p:grpSpPr>
          <a:xfrm>
            <a:off x="6869122" y="1631724"/>
            <a:ext cx="4558438" cy="2477277"/>
            <a:chOff x="2651761" y="1916561"/>
            <a:chExt cx="3306610" cy="1686726"/>
          </a:xfrm>
        </p:grpSpPr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B01025B9-0AE0-98FB-0E5C-BD31BFB9F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1761" y="1916561"/>
              <a:ext cx="3306610" cy="1686726"/>
            </a:xfrm>
            <a:prstGeom prst="rect">
              <a:avLst/>
            </a:prstGeom>
          </p:spPr>
        </p:pic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0EB910AE-A194-3CCF-A1E4-9A8CFAAE4181}"/>
                </a:ext>
              </a:extLst>
            </p:cNvPr>
            <p:cNvSpPr/>
            <p:nvPr/>
          </p:nvSpPr>
          <p:spPr>
            <a:xfrm>
              <a:off x="3101340" y="2082127"/>
              <a:ext cx="2400881" cy="1256696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7" name="Picture 76">
            <a:extLst>
              <a:ext uri="{FF2B5EF4-FFF2-40B4-BE49-F238E27FC236}">
                <a16:creationId xmlns:a16="http://schemas.microsoft.com/office/drawing/2014/main" id="{C0A659D2-2E8D-8098-4D5C-E854EEDDE9B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-1873" b="-1873"/>
          <a:stretch/>
        </p:blipFill>
        <p:spPr>
          <a:xfrm>
            <a:off x="7488904" y="1838713"/>
            <a:ext cx="3309815" cy="1493039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08EDC232-D4A0-DB0A-4516-D0EC2C1755EB}"/>
              </a:ext>
            </a:extLst>
          </p:cNvPr>
          <p:cNvSpPr/>
          <p:nvPr/>
        </p:nvSpPr>
        <p:spPr>
          <a:xfrm flipH="1">
            <a:off x="7488904" y="3429395"/>
            <a:ext cx="3396864" cy="1615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bor Market Strategy - Key Pillars and Initiatives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1E0F5AB-0DAB-4BFE-C4EE-D03CA168D0C8}"/>
              </a:ext>
            </a:extLst>
          </p:cNvPr>
          <p:cNvSpPr/>
          <p:nvPr/>
        </p:nvSpPr>
        <p:spPr>
          <a:xfrm>
            <a:off x="7100964" y="4274142"/>
            <a:ext cx="4270499" cy="14596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ts admission :</a:t>
            </a:r>
          </a:p>
          <a:p>
            <a:pPr marR="0" lvl="0" algn="l" defTabSz="913943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Initiative No. 16 </a:t>
            </a: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of the Labor Market Strategy focuses on promoting the recruitment of highly skilled professional expats and regulating the admission of medium and low skilled professional expat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C2ED73-7F88-3933-8921-FEA2629D0550}"/>
              </a:ext>
            </a:extLst>
          </p:cNvPr>
          <p:cNvSpPr txBox="1"/>
          <p:nvPr/>
        </p:nvSpPr>
        <p:spPr>
          <a:xfrm>
            <a:off x="1048011" y="3245145"/>
            <a:ext cx="1976916" cy="207749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ased on Th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ingdom's Vision 2030’s pillar to have a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CB61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Thriving Economy“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side the objectives of the national transforma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CB61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bjective 27: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tracting the right global talent effectively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4668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Professional Accreditation Added Values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ct val="0"/>
              </a:spcBef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1. </a:t>
            </a:r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Accreditation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O</a:t>
            </a:r>
            <a:r>
              <a:rPr lang="en-US" sz="2400" b="1" kern="12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verview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43" name="Rectangle: Diagonal Corners Rounded 42">
            <a:extLst>
              <a:ext uri="{FF2B5EF4-FFF2-40B4-BE49-F238E27FC236}">
                <a16:creationId xmlns:a16="http://schemas.microsoft.com/office/drawing/2014/main" id="{13D11922-2136-E694-AF29-76E4067833A1}"/>
              </a:ext>
            </a:extLst>
          </p:cNvPr>
          <p:cNvSpPr/>
          <p:nvPr/>
        </p:nvSpPr>
        <p:spPr>
          <a:xfrm flipH="1">
            <a:off x="958984" y="1810766"/>
            <a:ext cx="3356024" cy="3792535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prove quality and productivit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 verifying the suitability of workers for their professions</a:t>
            </a:r>
          </a:p>
          <a:p>
            <a:pPr marL="285750" marR="0" lvl="0" indent="-28575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oost confidence and credibilit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ween workers and employer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Google Shape;196;p29">
            <a:extLst>
              <a:ext uri="{FF2B5EF4-FFF2-40B4-BE49-F238E27FC236}">
                <a16:creationId xmlns:a16="http://schemas.microsoft.com/office/drawing/2014/main" id="{2F4DCE1E-2FC4-F239-90CA-1A70A0F65C14}"/>
              </a:ext>
            </a:extLst>
          </p:cNvPr>
          <p:cNvSpPr/>
          <p:nvPr/>
        </p:nvSpPr>
        <p:spPr>
          <a:xfrm flipH="1">
            <a:off x="893468" y="1694831"/>
            <a:ext cx="869661" cy="496247"/>
          </a:xfrm>
          <a:prstGeom prst="round2Diag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88A8F7B-AB36-3BF5-8279-8FBAEC5EF656}"/>
              </a:ext>
            </a:extLst>
          </p:cNvPr>
          <p:cNvGrpSpPr/>
          <p:nvPr/>
        </p:nvGrpSpPr>
        <p:grpSpPr>
          <a:xfrm>
            <a:off x="1107823" y="1706976"/>
            <a:ext cx="472285" cy="411756"/>
            <a:chOff x="13411491" y="8087441"/>
            <a:chExt cx="974242" cy="876607"/>
          </a:xfrm>
          <a:solidFill>
            <a:schemeClr val="bg1"/>
          </a:solidFill>
        </p:grpSpPr>
        <p:pic>
          <p:nvPicPr>
            <p:cNvPr id="61" name="Graphic 60" descr="Magnifying glass outline">
              <a:extLst>
                <a:ext uri="{FF2B5EF4-FFF2-40B4-BE49-F238E27FC236}">
                  <a16:creationId xmlns:a16="http://schemas.microsoft.com/office/drawing/2014/main" id="{9CA9B3D2-7360-02DA-B308-8E7E7C19AE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757594" y="8087441"/>
              <a:ext cx="628139" cy="628139"/>
            </a:xfrm>
            <a:prstGeom prst="rect">
              <a:avLst/>
            </a:prstGeom>
          </p:spPr>
        </p:pic>
        <p:pic>
          <p:nvPicPr>
            <p:cNvPr id="62" name="Graphic 61" descr="Group of men outline">
              <a:extLst>
                <a:ext uri="{FF2B5EF4-FFF2-40B4-BE49-F238E27FC236}">
                  <a16:creationId xmlns:a16="http://schemas.microsoft.com/office/drawing/2014/main" id="{B2BF8F15-D6EC-C641-0B24-DA68F1B282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3411491" y="8206530"/>
              <a:ext cx="757518" cy="757518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BFCC19E-7796-3184-DFCA-CAA656443E61}"/>
              </a:ext>
            </a:extLst>
          </p:cNvPr>
          <p:cNvSpPr/>
          <p:nvPr/>
        </p:nvSpPr>
        <p:spPr>
          <a:xfrm>
            <a:off x="1101046" y="2088052"/>
            <a:ext cx="3136157" cy="90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Labor Market</a:t>
            </a:r>
          </a:p>
        </p:txBody>
      </p:sp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0F5F16AF-939E-DA03-D54E-F4BAD59E8A2C}"/>
              </a:ext>
            </a:extLst>
          </p:cNvPr>
          <p:cNvSpPr/>
          <p:nvPr/>
        </p:nvSpPr>
        <p:spPr>
          <a:xfrm flipH="1">
            <a:off x="4477160" y="1804559"/>
            <a:ext cx="3356024" cy="3792535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cess to global talent </a:t>
            </a:r>
            <a:r>
              <a:rPr lang="en-US" sz="14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abling employers to attract skilled professionals from all over the world</a:t>
            </a:r>
          </a:p>
          <a:p>
            <a:pPr marL="285750" marR="0" lvl="0" indent="-28575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hance hiring process</a:t>
            </a:r>
            <a:r>
              <a:rPr lang="en-US" sz="1600" b="1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y providing a standardized measure of competence</a:t>
            </a:r>
            <a:r>
              <a:rPr lang="en-US" sz="14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or the employers</a:t>
            </a:r>
          </a:p>
        </p:txBody>
      </p:sp>
      <p:sp>
        <p:nvSpPr>
          <p:cNvPr id="13" name="Google Shape;196;p29">
            <a:extLst>
              <a:ext uri="{FF2B5EF4-FFF2-40B4-BE49-F238E27FC236}">
                <a16:creationId xmlns:a16="http://schemas.microsoft.com/office/drawing/2014/main" id="{F5729ED0-CB28-5067-9B9D-03B9E1056F15}"/>
              </a:ext>
            </a:extLst>
          </p:cNvPr>
          <p:cNvSpPr/>
          <p:nvPr/>
        </p:nvSpPr>
        <p:spPr>
          <a:xfrm flipH="1">
            <a:off x="4411644" y="1688624"/>
            <a:ext cx="869661" cy="496247"/>
          </a:xfrm>
          <a:prstGeom prst="round2Diag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A0CBA0-A71E-E7B7-EF44-13BE25200624}"/>
              </a:ext>
            </a:extLst>
          </p:cNvPr>
          <p:cNvSpPr/>
          <p:nvPr/>
        </p:nvSpPr>
        <p:spPr>
          <a:xfrm>
            <a:off x="4619222" y="2081845"/>
            <a:ext cx="3136157" cy="90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Employers</a:t>
            </a:r>
          </a:p>
        </p:txBody>
      </p:sp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19A03333-5BD9-6151-BE19-FCBAAF5D575E}"/>
              </a:ext>
            </a:extLst>
          </p:cNvPr>
          <p:cNvSpPr/>
          <p:nvPr/>
        </p:nvSpPr>
        <p:spPr>
          <a:xfrm flipH="1">
            <a:off x="8005476" y="1804559"/>
            <a:ext cx="3356024" cy="3792535"/>
          </a:xfrm>
          <a:prstGeom prst="round2Diag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cognize the capabilities </a:t>
            </a:r>
            <a:r>
              <a:rPr lang="en-US" sz="14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providing the workers with a recognized mark of their quality and compet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rease career opportuniti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3425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 certified workers by raising their competitive advantage in their specialized professions</a:t>
            </a:r>
          </a:p>
        </p:txBody>
      </p:sp>
      <p:sp>
        <p:nvSpPr>
          <p:cNvPr id="20" name="Google Shape;196;p29">
            <a:extLst>
              <a:ext uri="{FF2B5EF4-FFF2-40B4-BE49-F238E27FC236}">
                <a16:creationId xmlns:a16="http://schemas.microsoft.com/office/drawing/2014/main" id="{D6E0DEC3-506C-06FD-DB36-BDBAD0D5EB80}"/>
              </a:ext>
            </a:extLst>
          </p:cNvPr>
          <p:cNvSpPr/>
          <p:nvPr/>
        </p:nvSpPr>
        <p:spPr>
          <a:xfrm flipH="1">
            <a:off x="7939960" y="1688624"/>
            <a:ext cx="869661" cy="496247"/>
          </a:xfrm>
          <a:prstGeom prst="round2Diag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45713" tIns="45713" rIns="45713" bIns="45713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30EBF3F-37CE-6120-0D57-4269D12861D2}"/>
              </a:ext>
            </a:extLst>
          </p:cNvPr>
          <p:cNvSpPr/>
          <p:nvPr/>
        </p:nvSpPr>
        <p:spPr>
          <a:xfrm>
            <a:off x="8147538" y="2081845"/>
            <a:ext cx="3136157" cy="90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Workers</a:t>
            </a:r>
          </a:p>
        </p:txBody>
      </p:sp>
      <p:pic>
        <p:nvPicPr>
          <p:cNvPr id="25" name="Graphic 24" descr="Construction worker male outline">
            <a:extLst>
              <a:ext uri="{FF2B5EF4-FFF2-40B4-BE49-F238E27FC236}">
                <a16:creationId xmlns:a16="http://schemas.microsoft.com/office/drawing/2014/main" id="{DBB016E9-3A86-DAAC-DF4D-9881122DB9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46599" y="1706985"/>
            <a:ext cx="457200" cy="457200"/>
          </a:xfrm>
          <a:prstGeom prst="rect">
            <a:avLst/>
          </a:prstGeom>
        </p:spPr>
      </p:pic>
      <p:pic>
        <p:nvPicPr>
          <p:cNvPr id="28" name="Graphic 27" descr="City outline">
            <a:extLst>
              <a:ext uri="{FF2B5EF4-FFF2-40B4-BE49-F238E27FC236}">
                <a16:creationId xmlns:a16="http://schemas.microsoft.com/office/drawing/2014/main" id="{B357DB75-2DF2-8815-9EF9-C36C309C43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71477" y="1681019"/>
            <a:ext cx="517897" cy="51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9185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Two programs fall under the umbrella of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Professional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Effra" panose="020B0603020203020204" pitchFamily="34" charset="0"/>
              </a:rPr>
              <a:t>Accreditation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 </a:t>
            </a:r>
            <a:endParaRPr lang="ar-SA" sz="1600" b="1" dirty="0">
              <a:solidFill>
                <a:srgbClr val="FFFFFF"/>
              </a:solidFill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ct val="0"/>
              </a:spcBef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1. </a:t>
            </a:r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Accreditation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O</a:t>
            </a:r>
            <a:r>
              <a:rPr lang="en-US" sz="2400" b="1" kern="12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verview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2B3806A-CEC6-F1C8-846F-B37D9C07C58F}"/>
              </a:ext>
            </a:extLst>
          </p:cNvPr>
          <p:cNvGrpSpPr/>
          <p:nvPr/>
        </p:nvGrpSpPr>
        <p:grpSpPr>
          <a:xfrm>
            <a:off x="1897121" y="1984712"/>
            <a:ext cx="3927458" cy="3551375"/>
            <a:chOff x="6397764" y="2260656"/>
            <a:chExt cx="3927458" cy="3551375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8176340-65A9-09AB-662E-3D2132610739}"/>
                </a:ext>
              </a:extLst>
            </p:cNvPr>
            <p:cNvGrpSpPr/>
            <p:nvPr/>
          </p:nvGrpSpPr>
          <p:grpSpPr>
            <a:xfrm>
              <a:off x="6397764" y="2260656"/>
              <a:ext cx="3927458" cy="3551375"/>
              <a:chOff x="11709381" y="3830474"/>
              <a:chExt cx="7854913" cy="7102746"/>
            </a:xfrm>
          </p:grpSpPr>
          <p:sp>
            <p:nvSpPr>
              <p:cNvPr id="67" name="Rectangle: Top Corners Rounded 66">
                <a:extLst>
                  <a:ext uri="{FF2B5EF4-FFF2-40B4-BE49-F238E27FC236}">
                    <a16:creationId xmlns:a16="http://schemas.microsoft.com/office/drawing/2014/main" id="{08510389-583F-3B7F-CB6D-BB59016BDA51}"/>
                  </a:ext>
                </a:extLst>
              </p:cNvPr>
              <p:cNvSpPr/>
              <p:nvPr/>
            </p:nvSpPr>
            <p:spPr>
              <a:xfrm rot="16200000" flipH="1">
                <a:off x="11179241" y="4603142"/>
                <a:ext cx="1564897" cy="493802"/>
              </a:xfrm>
              <a:prstGeom prst="round2SameRect">
                <a:avLst>
                  <a:gd name="adj1" fmla="val 15343"/>
                  <a:gd name="adj2" fmla="val 0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rtl="1">
                  <a:defRPr/>
                </a:pPr>
                <a:endParaRPr lang="en-US" sz="7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Rectangle: Top Corners Rounded 67">
                <a:extLst>
                  <a:ext uri="{FF2B5EF4-FFF2-40B4-BE49-F238E27FC236}">
                    <a16:creationId xmlns:a16="http://schemas.microsoft.com/office/drawing/2014/main" id="{5BAF55C7-51E6-A529-7600-E2EEC0A4A243}"/>
                  </a:ext>
                </a:extLst>
              </p:cNvPr>
              <p:cNvSpPr/>
              <p:nvPr/>
            </p:nvSpPr>
            <p:spPr>
              <a:xfrm flipH="1">
                <a:off x="12002259" y="4352812"/>
                <a:ext cx="7338113" cy="6566418"/>
              </a:xfrm>
              <a:prstGeom prst="round2SameRect">
                <a:avLst>
                  <a:gd name="adj1" fmla="val 7051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12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rtl="1">
                  <a:defRPr/>
                </a:pPr>
                <a:endParaRPr lang="en-US" sz="7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Arrow: Pentagon 68">
                <a:extLst>
                  <a:ext uri="{FF2B5EF4-FFF2-40B4-BE49-F238E27FC236}">
                    <a16:creationId xmlns:a16="http://schemas.microsoft.com/office/drawing/2014/main" id="{475EAECC-33F0-CB7A-452A-8F4390A3BEE7}"/>
                  </a:ext>
                </a:extLst>
              </p:cNvPr>
              <p:cNvSpPr/>
              <p:nvPr/>
            </p:nvSpPr>
            <p:spPr>
              <a:xfrm rot="5400000">
                <a:off x="14598998" y="1208322"/>
                <a:ext cx="2137152" cy="7381455"/>
              </a:xfrm>
              <a:prstGeom prst="homePlate">
                <a:avLst>
                  <a:gd name="adj" fmla="val 21667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>
                  <a:defRPr/>
                </a:pPr>
                <a:endParaRPr lang="en-US" sz="12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Rectangle: Top Corners Rounded 69">
                <a:extLst>
                  <a:ext uri="{FF2B5EF4-FFF2-40B4-BE49-F238E27FC236}">
                    <a16:creationId xmlns:a16="http://schemas.microsoft.com/office/drawing/2014/main" id="{E331EE44-40D1-3734-15E2-11F34949AFDE}"/>
                  </a:ext>
                </a:extLst>
              </p:cNvPr>
              <p:cNvSpPr/>
              <p:nvPr/>
            </p:nvSpPr>
            <p:spPr>
              <a:xfrm rot="5400000" flipH="1">
                <a:off x="11869764" y="3907205"/>
                <a:ext cx="1316201" cy="163696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rtl="1">
                  <a:defRPr/>
                </a:pPr>
                <a:endParaRPr lang="en-US" sz="7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BEA24D38-0599-AA85-C648-76D296646164}"/>
                  </a:ext>
                </a:extLst>
              </p:cNvPr>
              <p:cNvSpPr/>
              <p:nvPr/>
            </p:nvSpPr>
            <p:spPr>
              <a:xfrm flipH="1">
                <a:off x="12288213" y="10887500"/>
                <a:ext cx="6591457" cy="4572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rtl="1">
                  <a:defRPr/>
                </a:pPr>
                <a:endParaRPr lang="en-US" sz="7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093952B5-66FD-79CD-933A-4FEFDF2B5DD5}"/>
                  </a:ext>
                </a:extLst>
              </p:cNvPr>
              <p:cNvSpPr/>
              <p:nvPr/>
            </p:nvSpPr>
            <p:spPr>
              <a:xfrm flipH="1">
                <a:off x="11984328" y="4197054"/>
                <a:ext cx="1101460" cy="1021840"/>
              </a:xfrm>
              <a:prstGeom prst="ellipse">
                <a:avLst/>
              </a:prstGeom>
              <a:solidFill>
                <a:schemeClr val="tx2"/>
              </a:solidFill>
              <a:ln w="1905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 rtl="1">
                  <a:defRPr/>
                </a:pPr>
                <a:endParaRPr lang="en-US" sz="7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4179EE7-C8F4-68B9-8762-353A163DBE6F}"/>
                  </a:ext>
                </a:extLst>
              </p:cNvPr>
              <p:cNvSpPr txBox="1"/>
              <p:nvPr/>
            </p:nvSpPr>
            <p:spPr>
              <a:xfrm>
                <a:off x="12182775" y="4964311"/>
                <a:ext cx="650084" cy="276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algn="ctr" defTabSz="457200" rtl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900" kern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QVP</a:t>
                </a:r>
                <a:endParaRPr lang="en-US" sz="500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23A374C5-286F-5451-C259-9B7682D79CF2}"/>
                  </a:ext>
                </a:extLst>
              </p:cNvPr>
              <p:cNvGrpSpPr/>
              <p:nvPr/>
            </p:nvGrpSpPr>
            <p:grpSpPr>
              <a:xfrm>
                <a:off x="12203193" y="4318436"/>
                <a:ext cx="629943" cy="635549"/>
                <a:chOff x="4081463" y="728663"/>
                <a:chExt cx="357188" cy="360363"/>
              </a:xfrm>
              <a:solidFill>
                <a:srgbClr val="FFFFFF"/>
              </a:solidFill>
            </p:grpSpPr>
            <p:sp>
              <p:nvSpPr>
                <p:cNvPr id="84" name="Freeform 91">
                  <a:extLst>
                    <a:ext uri="{FF2B5EF4-FFF2-40B4-BE49-F238E27FC236}">
                      <a16:creationId xmlns:a16="http://schemas.microsoft.com/office/drawing/2014/main" id="{36F92934-3CED-2089-33C3-7CCC0BDB3F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1463" y="936625"/>
                  <a:ext cx="141288" cy="152400"/>
                </a:xfrm>
                <a:custGeom>
                  <a:avLst/>
                  <a:gdLst>
                    <a:gd name="T0" fmla="*/ 322 w 534"/>
                    <a:gd name="T1" fmla="*/ 576 h 576"/>
                    <a:gd name="T2" fmla="*/ 322 w 534"/>
                    <a:gd name="T3" fmla="*/ 576 h 576"/>
                    <a:gd name="T4" fmla="*/ 320 w 534"/>
                    <a:gd name="T5" fmla="*/ 576 h 576"/>
                    <a:gd name="T6" fmla="*/ 320 w 534"/>
                    <a:gd name="T7" fmla="*/ 576 h 576"/>
                    <a:gd name="T8" fmla="*/ 312 w 534"/>
                    <a:gd name="T9" fmla="*/ 574 h 576"/>
                    <a:gd name="T10" fmla="*/ 305 w 534"/>
                    <a:gd name="T11" fmla="*/ 570 h 576"/>
                    <a:gd name="T12" fmla="*/ 300 w 534"/>
                    <a:gd name="T13" fmla="*/ 565 h 576"/>
                    <a:gd name="T14" fmla="*/ 296 w 534"/>
                    <a:gd name="T15" fmla="*/ 558 h 576"/>
                    <a:gd name="T16" fmla="*/ 228 w 534"/>
                    <a:gd name="T17" fmla="*/ 372 h 576"/>
                    <a:gd name="T18" fmla="*/ 34 w 534"/>
                    <a:gd name="T19" fmla="*/ 405 h 576"/>
                    <a:gd name="T20" fmla="*/ 34 w 534"/>
                    <a:gd name="T21" fmla="*/ 405 h 576"/>
                    <a:gd name="T22" fmla="*/ 25 w 534"/>
                    <a:gd name="T23" fmla="*/ 406 h 576"/>
                    <a:gd name="T24" fmla="*/ 17 w 534"/>
                    <a:gd name="T25" fmla="*/ 404 h 576"/>
                    <a:gd name="T26" fmla="*/ 11 w 534"/>
                    <a:gd name="T27" fmla="*/ 400 h 576"/>
                    <a:gd name="T28" fmla="*/ 5 w 534"/>
                    <a:gd name="T29" fmla="*/ 394 h 576"/>
                    <a:gd name="T30" fmla="*/ 5 w 534"/>
                    <a:gd name="T31" fmla="*/ 394 h 576"/>
                    <a:gd name="T32" fmla="*/ 2 w 534"/>
                    <a:gd name="T33" fmla="*/ 387 h 576"/>
                    <a:gd name="T34" fmla="*/ 0 w 534"/>
                    <a:gd name="T35" fmla="*/ 378 h 576"/>
                    <a:gd name="T36" fmla="*/ 1 w 534"/>
                    <a:gd name="T37" fmla="*/ 370 h 576"/>
                    <a:gd name="T38" fmla="*/ 4 w 534"/>
                    <a:gd name="T39" fmla="*/ 363 h 576"/>
                    <a:gd name="T40" fmla="*/ 214 w 534"/>
                    <a:gd name="T41" fmla="*/ 0 h 576"/>
                    <a:gd name="T42" fmla="*/ 264 w 534"/>
                    <a:gd name="T43" fmla="*/ 28 h 576"/>
                    <a:gd name="T44" fmla="*/ 84 w 534"/>
                    <a:gd name="T45" fmla="*/ 339 h 576"/>
                    <a:gd name="T46" fmla="*/ 243 w 534"/>
                    <a:gd name="T47" fmla="*/ 313 h 576"/>
                    <a:gd name="T48" fmla="*/ 243 w 534"/>
                    <a:gd name="T49" fmla="*/ 313 h 576"/>
                    <a:gd name="T50" fmla="*/ 248 w 534"/>
                    <a:gd name="T51" fmla="*/ 312 h 576"/>
                    <a:gd name="T52" fmla="*/ 252 w 534"/>
                    <a:gd name="T53" fmla="*/ 313 h 576"/>
                    <a:gd name="T54" fmla="*/ 257 w 534"/>
                    <a:gd name="T55" fmla="*/ 314 h 576"/>
                    <a:gd name="T56" fmla="*/ 261 w 534"/>
                    <a:gd name="T57" fmla="*/ 316 h 576"/>
                    <a:gd name="T58" fmla="*/ 265 w 534"/>
                    <a:gd name="T59" fmla="*/ 319 h 576"/>
                    <a:gd name="T60" fmla="*/ 269 w 534"/>
                    <a:gd name="T61" fmla="*/ 322 h 576"/>
                    <a:gd name="T62" fmla="*/ 272 w 534"/>
                    <a:gd name="T63" fmla="*/ 326 h 576"/>
                    <a:gd name="T64" fmla="*/ 274 w 534"/>
                    <a:gd name="T65" fmla="*/ 331 h 576"/>
                    <a:gd name="T66" fmla="*/ 328 w 534"/>
                    <a:gd name="T67" fmla="*/ 482 h 576"/>
                    <a:gd name="T68" fmla="*/ 484 w 534"/>
                    <a:gd name="T69" fmla="*/ 221 h 576"/>
                    <a:gd name="T70" fmla="*/ 534 w 534"/>
                    <a:gd name="T71" fmla="*/ 250 h 576"/>
                    <a:gd name="T72" fmla="*/ 347 w 534"/>
                    <a:gd name="T73" fmla="*/ 563 h 576"/>
                    <a:gd name="T74" fmla="*/ 347 w 534"/>
                    <a:gd name="T75" fmla="*/ 563 h 576"/>
                    <a:gd name="T76" fmla="*/ 343 w 534"/>
                    <a:gd name="T77" fmla="*/ 568 h 576"/>
                    <a:gd name="T78" fmla="*/ 337 w 534"/>
                    <a:gd name="T79" fmla="*/ 573 h 576"/>
                    <a:gd name="T80" fmla="*/ 330 w 534"/>
                    <a:gd name="T81" fmla="*/ 575 h 576"/>
                    <a:gd name="T82" fmla="*/ 322 w 534"/>
                    <a:gd name="T83" fmla="*/ 576 h 576"/>
                    <a:gd name="T84" fmla="*/ 322 w 534"/>
                    <a:gd name="T85" fmla="*/ 576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34" h="576">
                      <a:moveTo>
                        <a:pt x="322" y="576"/>
                      </a:moveTo>
                      <a:lnTo>
                        <a:pt x="322" y="576"/>
                      </a:lnTo>
                      <a:lnTo>
                        <a:pt x="320" y="576"/>
                      </a:lnTo>
                      <a:lnTo>
                        <a:pt x="320" y="576"/>
                      </a:lnTo>
                      <a:lnTo>
                        <a:pt x="312" y="574"/>
                      </a:lnTo>
                      <a:lnTo>
                        <a:pt x="305" y="570"/>
                      </a:lnTo>
                      <a:lnTo>
                        <a:pt x="300" y="565"/>
                      </a:lnTo>
                      <a:lnTo>
                        <a:pt x="296" y="558"/>
                      </a:lnTo>
                      <a:lnTo>
                        <a:pt x="228" y="372"/>
                      </a:lnTo>
                      <a:lnTo>
                        <a:pt x="34" y="405"/>
                      </a:lnTo>
                      <a:lnTo>
                        <a:pt x="34" y="405"/>
                      </a:lnTo>
                      <a:lnTo>
                        <a:pt x="25" y="406"/>
                      </a:lnTo>
                      <a:lnTo>
                        <a:pt x="17" y="404"/>
                      </a:lnTo>
                      <a:lnTo>
                        <a:pt x="11" y="400"/>
                      </a:lnTo>
                      <a:lnTo>
                        <a:pt x="5" y="394"/>
                      </a:lnTo>
                      <a:lnTo>
                        <a:pt x="5" y="394"/>
                      </a:lnTo>
                      <a:lnTo>
                        <a:pt x="2" y="387"/>
                      </a:lnTo>
                      <a:lnTo>
                        <a:pt x="0" y="378"/>
                      </a:lnTo>
                      <a:lnTo>
                        <a:pt x="1" y="370"/>
                      </a:lnTo>
                      <a:lnTo>
                        <a:pt x="4" y="363"/>
                      </a:lnTo>
                      <a:lnTo>
                        <a:pt x="214" y="0"/>
                      </a:lnTo>
                      <a:lnTo>
                        <a:pt x="264" y="28"/>
                      </a:lnTo>
                      <a:lnTo>
                        <a:pt x="84" y="339"/>
                      </a:lnTo>
                      <a:lnTo>
                        <a:pt x="243" y="313"/>
                      </a:lnTo>
                      <a:lnTo>
                        <a:pt x="243" y="313"/>
                      </a:lnTo>
                      <a:lnTo>
                        <a:pt x="248" y="312"/>
                      </a:lnTo>
                      <a:lnTo>
                        <a:pt x="252" y="313"/>
                      </a:lnTo>
                      <a:lnTo>
                        <a:pt x="257" y="314"/>
                      </a:lnTo>
                      <a:lnTo>
                        <a:pt x="261" y="316"/>
                      </a:lnTo>
                      <a:lnTo>
                        <a:pt x="265" y="319"/>
                      </a:lnTo>
                      <a:lnTo>
                        <a:pt x="269" y="322"/>
                      </a:lnTo>
                      <a:lnTo>
                        <a:pt x="272" y="326"/>
                      </a:lnTo>
                      <a:lnTo>
                        <a:pt x="274" y="331"/>
                      </a:lnTo>
                      <a:lnTo>
                        <a:pt x="328" y="482"/>
                      </a:lnTo>
                      <a:lnTo>
                        <a:pt x="484" y="221"/>
                      </a:lnTo>
                      <a:lnTo>
                        <a:pt x="534" y="250"/>
                      </a:lnTo>
                      <a:lnTo>
                        <a:pt x="347" y="563"/>
                      </a:lnTo>
                      <a:lnTo>
                        <a:pt x="347" y="563"/>
                      </a:lnTo>
                      <a:lnTo>
                        <a:pt x="343" y="568"/>
                      </a:lnTo>
                      <a:lnTo>
                        <a:pt x="337" y="573"/>
                      </a:lnTo>
                      <a:lnTo>
                        <a:pt x="330" y="575"/>
                      </a:lnTo>
                      <a:lnTo>
                        <a:pt x="322" y="576"/>
                      </a:lnTo>
                      <a:lnTo>
                        <a:pt x="322" y="57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>
                    <a:defRPr/>
                  </a:pPr>
                  <a:endParaRPr lang="en-US" sz="7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Freeform 92">
                  <a:extLst>
                    <a:ext uri="{FF2B5EF4-FFF2-40B4-BE49-F238E27FC236}">
                      <a16:creationId xmlns:a16="http://schemas.microsoft.com/office/drawing/2014/main" id="{784F6C39-A380-EA9A-50AD-88F4E22AA4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7363" y="938213"/>
                  <a:ext cx="141288" cy="150813"/>
                </a:xfrm>
                <a:custGeom>
                  <a:avLst/>
                  <a:gdLst>
                    <a:gd name="T0" fmla="*/ 210 w 533"/>
                    <a:gd name="T1" fmla="*/ 571 h 571"/>
                    <a:gd name="T2" fmla="*/ 210 w 533"/>
                    <a:gd name="T3" fmla="*/ 571 h 571"/>
                    <a:gd name="T4" fmla="*/ 203 w 533"/>
                    <a:gd name="T5" fmla="*/ 570 h 571"/>
                    <a:gd name="T6" fmla="*/ 196 w 533"/>
                    <a:gd name="T7" fmla="*/ 568 h 571"/>
                    <a:gd name="T8" fmla="*/ 190 w 533"/>
                    <a:gd name="T9" fmla="*/ 563 h 571"/>
                    <a:gd name="T10" fmla="*/ 186 w 533"/>
                    <a:gd name="T11" fmla="*/ 558 h 571"/>
                    <a:gd name="T12" fmla="*/ 0 w 533"/>
                    <a:gd name="T13" fmla="*/ 247 h 571"/>
                    <a:gd name="T14" fmla="*/ 49 w 533"/>
                    <a:gd name="T15" fmla="*/ 218 h 571"/>
                    <a:gd name="T16" fmla="*/ 204 w 533"/>
                    <a:gd name="T17" fmla="*/ 477 h 571"/>
                    <a:gd name="T18" fmla="*/ 260 w 533"/>
                    <a:gd name="T19" fmla="*/ 326 h 571"/>
                    <a:gd name="T20" fmla="*/ 260 w 533"/>
                    <a:gd name="T21" fmla="*/ 326 h 571"/>
                    <a:gd name="T22" fmla="*/ 262 w 533"/>
                    <a:gd name="T23" fmla="*/ 321 h 571"/>
                    <a:gd name="T24" fmla="*/ 265 w 533"/>
                    <a:gd name="T25" fmla="*/ 317 h 571"/>
                    <a:gd name="T26" fmla="*/ 268 w 533"/>
                    <a:gd name="T27" fmla="*/ 314 h 571"/>
                    <a:gd name="T28" fmla="*/ 272 w 533"/>
                    <a:gd name="T29" fmla="*/ 311 h 571"/>
                    <a:gd name="T30" fmla="*/ 276 w 533"/>
                    <a:gd name="T31" fmla="*/ 309 h 571"/>
                    <a:gd name="T32" fmla="*/ 281 w 533"/>
                    <a:gd name="T33" fmla="*/ 308 h 571"/>
                    <a:gd name="T34" fmla="*/ 286 w 533"/>
                    <a:gd name="T35" fmla="*/ 307 h 571"/>
                    <a:gd name="T36" fmla="*/ 291 w 533"/>
                    <a:gd name="T37" fmla="*/ 308 h 571"/>
                    <a:gd name="T38" fmla="*/ 450 w 533"/>
                    <a:gd name="T39" fmla="*/ 334 h 571"/>
                    <a:gd name="T40" fmla="*/ 272 w 533"/>
                    <a:gd name="T41" fmla="*/ 28 h 571"/>
                    <a:gd name="T42" fmla="*/ 322 w 533"/>
                    <a:gd name="T43" fmla="*/ 0 h 571"/>
                    <a:gd name="T44" fmla="*/ 529 w 533"/>
                    <a:gd name="T45" fmla="*/ 358 h 571"/>
                    <a:gd name="T46" fmla="*/ 529 w 533"/>
                    <a:gd name="T47" fmla="*/ 358 h 571"/>
                    <a:gd name="T48" fmla="*/ 532 w 533"/>
                    <a:gd name="T49" fmla="*/ 365 h 571"/>
                    <a:gd name="T50" fmla="*/ 533 w 533"/>
                    <a:gd name="T51" fmla="*/ 373 h 571"/>
                    <a:gd name="T52" fmla="*/ 532 w 533"/>
                    <a:gd name="T53" fmla="*/ 382 h 571"/>
                    <a:gd name="T54" fmla="*/ 528 w 533"/>
                    <a:gd name="T55" fmla="*/ 389 h 571"/>
                    <a:gd name="T56" fmla="*/ 528 w 533"/>
                    <a:gd name="T57" fmla="*/ 389 h 571"/>
                    <a:gd name="T58" fmla="*/ 523 w 533"/>
                    <a:gd name="T59" fmla="*/ 395 h 571"/>
                    <a:gd name="T60" fmla="*/ 515 w 533"/>
                    <a:gd name="T61" fmla="*/ 399 h 571"/>
                    <a:gd name="T62" fmla="*/ 507 w 533"/>
                    <a:gd name="T63" fmla="*/ 401 h 571"/>
                    <a:gd name="T64" fmla="*/ 499 w 533"/>
                    <a:gd name="T65" fmla="*/ 400 h 571"/>
                    <a:gd name="T66" fmla="*/ 304 w 533"/>
                    <a:gd name="T67" fmla="*/ 367 h 571"/>
                    <a:gd name="T68" fmla="*/ 237 w 533"/>
                    <a:gd name="T69" fmla="*/ 553 h 571"/>
                    <a:gd name="T70" fmla="*/ 237 w 533"/>
                    <a:gd name="T71" fmla="*/ 553 h 571"/>
                    <a:gd name="T72" fmla="*/ 234 w 533"/>
                    <a:gd name="T73" fmla="*/ 560 h 571"/>
                    <a:gd name="T74" fmla="*/ 228 w 533"/>
                    <a:gd name="T75" fmla="*/ 565 h 571"/>
                    <a:gd name="T76" fmla="*/ 221 w 533"/>
                    <a:gd name="T77" fmla="*/ 569 h 571"/>
                    <a:gd name="T78" fmla="*/ 213 w 533"/>
                    <a:gd name="T79" fmla="*/ 571 h 571"/>
                    <a:gd name="T80" fmla="*/ 213 w 533"/>
                    <a:gd name="T81" fmla="*/ 571 h 571"/>
                    <a:gd name="T82" fmla="*/ 210 w 533"/>
                    <a:gd name="T83" fmla="*/ 571 h 571"/>
                    <a:gd name="T84" fmla="*/ 210 w 533"/>
                    <a:gd name="T85" fmla="*/ 571 h 5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33" h="571">
                      <a:moveTo>
                        <a:pt x="210" y="571"/>
                      </a:moveTo>
                      <a:lnTo>
                        <a:pt x="210" y="571"/>
                      </a:lnTo>
                      <a:lnTo>
                        <a:pt x="203" y="570"/>
                      </a:lnTo>
                      <a:lnTo>
                        <a:pt x="196" y="568"/>
                      </a:lnTo>
                      <a:lnTo>
                        <a:pt x="190" y="563"/>
                      </a:lnTo>
                      <a:lnTo>
                        <a:pt x="186" y="558"/>
                      </a:lnTo>
                      <a:lnTo>
                        <a:pt x="0" y="247"/>
                      </a:lnTo>
                      <a:lnTo>
                        <a:pt x="49" y="218"/>
                      </a:lnTo>
                      <a:lnTo>
                        <a:pt x="204" y="477"/>
                      </a:lnTo>
                      <a:lnTo>
                        <a:pt x="260" y="326"/>
                      </a:lnTo>
                      <a:lnTo>
                        <a:pt x="260" y="326"/>
                      </a:lnTo>
                      <a:lnTo>
                        <a:pt x="262" y="321"/>
                      </a:lnTo>
                      <a:lnTo>
                        <a:pt x="265" y="317"/>
                      </a:lnTo>
                      <a:lnTo>
                        <a:pt x="268" y="314"/>
                      </a:lnTo>
                      <a:lnTo>
                        <a:pt x="272" y="311"/>
                      </a:lnTo>
                      <a:lnTo>
                        <a:pt x="276" y="309"/>
                      </a:lnTo>
                      <a:lnTo>
                        <a:pt x="281" y="308"/>
                      </a:lnTo>
                      <a:lnTo>
                        <a:pt x="286" y="307"/>
                      </a:lnTo>
                      <a:lnTo>
                        <a:pt x="291" y="308"/>
                      </a:lnTo>
                      <a:lnTo>
                        <a:pt x="450" y="334"/>
                      </a:lnTo>
                      <a:lnTo>
                        <a:pt x="272" y="28"/>
                      </a:lnTo>
                      <a:lnTo>
                        <a:pt x="322" y="0"/>
                      </a:lnTo>
                      <a:lnTo>
                        <a:pt x="529" y="358"/>
                      </a:lnTo>
                      <a:lnTo>
                        <a:pt x="529" y="358"/>
                      </a:lnTo>
                      <a:lnTo>
                        <a:pt x="532" y="365"/>
                      </a:lnTo>
                      <a:lnTo>
                        <a:pt x="533" y="373"/>
                      </a:lnTo>
                      <a:lnTo>
                        <a:pt x="532" y="382"/>
                      </a:lnTo>
                      <a:lnTo>
                        <a:pt x="528" y="389"/>
                      </a:lnTo>
                      <a:lnTo>
                        <a:pt x="528" y="389"/>
                      </a:lnTo>
                      <a:lnTo>
                        <a:pt x="523" y="395"/>
                      </a:lnTo>
                      <a:lnTo>
                        <a:pt x="515" y="399"/>
                      </a:lnTo>
                      <a:lnTo>
                        <a:pt x="507" y="401"/>
                      </a:lnTo>
                      <a:lnTo>
                        <a:pt x="499" y="400"/>
                      </a:lnTo>
                      <a:lnTo>
                        <a:pt x="304" y="367"/>
                      </a:lnTo>
                      <a:lnTo>
                        <a:pt x="237" y="553"/>
                      </a:lnTo>
                      <a:lnTo>
                        <a:pt x="237" y="553"/>
                      </a:lnTo>
                      <a:lnTo>
                        <a:pt x="234" y="560"/>
                      </a:lnTo>
                      <a:lnTo>
                        <a:pt x="228" y="565"/>
                      </a:lnTo>
                      <a:lnTo>
                        <a:pt x="221" y="569"/>
                      </a:lnTo>
                      <a:lnTo>
                        <a:pt x="213" y="571"/>
                      </a:lnTo>
                      <a:lnTo>
                        <a:pt x="213" y="571"/>
                      </a:lnTo>
                      <a:lnTo>
                        <a:pt x="210" y="571"/>
                      </a:lnTo>
                      <a:lnTo>
                        <a:pt x="210" y="5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>
                    <a:defRPr/>
                  </a:pPr>
                  <a:endParaRPr lang="en-US" sz="7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Freeform 93">
                  <a:extLst>
                    <a:ext uri="{FF2B5EF4-FFF2-40B4-BE49-F238E27FC236}">
                      <a16:creationId xmlns:a16="http://schemas.microsoft.com/office/drawing/2014/main" id="{AA6B97F1-0D86-4565-BAAA-74D08001B1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19563" y="728663"/>
                  <a:ext cx="284163" cy="285750"/>
                </a:xfrm>
                <a:custGeom>
                  <a:avLst/>
                  <a:gdLst>
                    <a:gd name="T0" fmla="*/ 456 w 1076"/>
                    <a:gd name="T1" fmla="*/ 1071 h 1078"/>
                    <a:gd name="T2" fmla="*/ 328 w 1076"/>
                    <a:gd name="T3" fmla="*/ 1035 h 1078"/>
                    <a:gd name="T4" fmla="*/ 216 w 1076"/>
                    <a:gd name="T5" fmla="*/ 971 h 1078"/>
                    <a:gd name="T6" fmla="*/ 122 w 1076"/>
                    <a:gd name="T7" fmla="*/ 881 h 1078"/>
                    <a:gd name="T8" fmla="*/ 52 w 1076"/>
                    <a:gd name="T9" fmla="*/ 772 h 1078"/>
                    <a:gd name="T10" fmla="*/ 10 w 1076"/>
                    <a:gd name="T11" fmla="*/ 647 h 1078"/>
                    <a:gd name="T12" fmla="*/ 0 w 1076"/>
                    <a:gd name="T13" fmla="*/ 538 h 1078"/>
                    <a:gd name="T14" fmla="*/ 16 w 1076"/>
                    <a:gd name="T15" fmla="*/ 404 h 1078"/>
                    <a:gd name="T16" fmla="*/ 64 w 1076"/>
                    <a:gd name="T17" fmla="*/ 283 h 1078"/>
                    <a:gd name="T18" fmla="*/ 139 w 1076"/>
                    <a:gd name="T19" fmla="*/ 177 h 1078"/>
                    <a:gd name="T20" fmla="*/ 237 w 1076"/>
                    <a:gd name="T21" fmla="*/ 93 h 1078"/>
                    <a:gd name="T22" fmla="*/ 353 w 1076"/>
                    <a:gd name="T23" fmla="*/ 33 h 1078"/>
                    <a:gd name="T24" fmla="*/ 482 w 1076"/>
                    <a:gd name="T25" fmla="*/ 3 h 1078"/>
                    <a:gd name="T26" fmla="*/ 593 w 1076"/>
                    <a:gd name="T27" fmla="*/ 3 h 1078"/>
                    <a:gd name="T28" fmla="*/ 723 w 1076"/>
                    <a:gd name="T29" fmla="*/ 33 h 1078"/>
                    <a:gd name="T30" fmla="*/ 839 w 1076"/>
                    <a:gd name="T31" fmla="*/ 93 h 1078"/>
                    <a:gd name="T32" fmla="*/ 936 w 1076"/>
                    <a:gd name="T33" fmla="*/ 177 h 1078"/>
                    <a:gd name="T34" fmla="*/ 1011 w 1076"/>
                    <a:gd name="T35" fmla="*/ 283 h 1078"/>
                    <a:gd name="T36" fmla="*/ 1059 w 1076"/>
                    <a:gd name="T37" fmla="*/ 404 h 1078"/>
                    <a:gd name="T38" fmla="*/ 1076 w 1076"/>
                    <a:gd name="T39" fmla="*/ 538 h 1078"/>
                    <a:gd name="T40" fmla="*/ 1065 w 1076"/>
                    <a:gd name="T41" fmla="*/ 647 h 1078"/>
                    <a:gd name="T42" fmla="*/ 1023 w 1076"/>
                    <a:gd name="T43" fmla="*/ 772 h 1078"/>
                    <a:gd name="T44" fmla="*/ 953 w 1076"/>
                    <a:gd name="T45" fmla="*/ 881 h 1078"/>
                    <a:gd name="T46" fmla="*/ 860 w 1076"/>
                    <a:gd name="T47" fmla="*/ 971 h 1078"/>
                    <a:gd name="T48" fmla="*/ 747 w 1076"/>
                    <a:gd name="T49" fmla="*/ 1035 h 1078"/>
                    <a:gd name="T50" fmla="*/ 620 w 1076"/>
                    <a:gd name="T51" fmla="*/ 1071 h 1078"/>
                    <a:gd name="T52" fmla="*/ 538 w 1076"/>
                    <a:gd name="T53" fmla="*/ 57 h 1078"/>
                    <a:gd name="T54" fmla="*/ 441 w 1076"/>
                    <a:gd name="T55" fmla="*/ 67 h 1078"/>
                    <a:gd name="T56" fmla="*/ 329 w 1076"/>
                    <a:gd name="T57" fmla="*/ 105 h 1078"/>
                    <a:gd name="T58" fmla="*/ 231 w 1076"/>
                    <a:gd name="T59" fmla="*/ 168 h 1078"/>
                    <a:gd name="T60" fmla="*/ 152 w 1076"/>
                    <a:gd name="T61" fmla="*/ 250 h 1078"/>
                    <a:gd name="T62" fmla="*/ 94 w 1076"/>
                    <a:gd name="T63" fmla="*/ 351 h 1078"/>
                    <a:gd name="T64" fmla="*/ 61 w 1076"/>
                    <a:gd name="T65" fmla="*/ 466 h 1078"/>
                    <a:gd name="T66" fmla="*/ 56 w 1076"/>
                    <a:gd name="T67" fmla="*/ 564 h 1078"/>
                    <a:gd name="T68" fmla="*/ 77 w 1076"/>
                    <a:gd name="T69" fmla="*/ 682 h 1078"/>
                    <a:gd name="T70" fmla="*/ 126 w 1076"/>
                    <a:gd name="T71" fmla="*/ 789 h 1078"/>
                    <a:gd name="T72" fmla="*/ 198 w 1076"/>
                    <a:gd name="T73" fmla="*/ 880 h 1078"/>
                    <a:gd name="T74" fmla="*/ 288 w 1076"/>
                    <a:gd name="T75" fmla="*/ 950 h 1078"/>
                    <a:gd name="T76" fmla="*/ 395 w 1076"/>
                    <a:gd name="T77" fmla="*/ 999 h 1078"/>
                    <a:gd name="T78" fmla="*/ 513 w 1076"/>
                    <a:gd name="T79" fmla="*/ 1020 h 1078"/>
                    <a:gd name="T80" fmla="*/ 611 w 1076"/>
                    <a:gd name="T81" fmla="*/ 1015 h 1078"/>
                    <a:gd name="T82" fmla="*/ 725 w 1076"/>
                    <a:gd name="T83" fmla="*/ 983 h 1078"/>
                    <a:gd name="T84" fmla="*/ 826 w 1076"/>
                    <a:gd name="T85" fmla="*/ 925 h 1078"/>
                    <a:gd name="T86" fmla="*/ 910 w 1076"/>
                    <a:gd name="T87" fmla="*/ 845 h 1078"/>
                    <a:gd name="T88" fmla="*/ 972 w 1076"/>
                    <a:gd name="T89" fmla="*/ 747 h 1078"/>
                    <a:gd name="T90" fmla="*/ 1010 w 1076"/>
                    <a:gd name="T91" fmla="*/ 635 h 1078"/>
                    <a:gd name="T92" fmla="*/ 1020 w 1076"/>
                    <a:gd name="T93" fmla="*/ 538 h 1078"/>
                    <a:gd name="T94" fmla="*/ 1005 w 1076"/>
                    <a:gd name="T95" fmla="*/ 418 h 1078"/>
                    <a:gd name="T96" fmla="*/ 961 w 1076"/>
                    <a:gd name="T97" fmla="*/ 309 h 1078"/>
                    <a:gd name="T98" fmla="*/ 895 w 1076"/>
                    <a:gd name="T99" fmla="*/ 215 h 1078"/>
                    <a:gd name="T100" fmla="*/ 807 w 1076"/>
                    <a:gd name="T101" fmla="*/ 139 h 1078"/>
                    <a:gd name="T102" fmla="*/ 704 w 1076"/>
                    <a:gd name="T103" fmla="*/ 86 h 1078"/>
                    <a:gd name="T104" fmla="*/ 586 w 1076"/>
                    <a:gd name="T105" fmla="*/ 60 h 10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76" h="1078">
                      <a:moveTo>
                        <a:pt x="538" y="1078"/>
                      </a:moveTo>
                      <a:lnTo>
                        <a:pt x="538" y="1078"/>
                      </a:lnTo>
                      <a:lnTo>
                        <a:pt x="510" y="1077"/>
                      </a:lnTo>
                      <a:lnTo>
                        <a:pt x="482" y="1075"/>
                      </a:lnTo>
                      <a:lnTo>
                        <a:pt x="456" y="1071"/>
                      </a:lnTo>
                      <a:lnTo>
                        <a:pt x="429" y="1067"/>
                      </a:lnTo>
                      <a:lnTo>
                        <a:pt x="404" y="1060"/>
                      </a:lnTo>
                      <a:lnTo>
                        <a:pt x="377" y="1053"/>
                      </a:lnTo>
                      <a:lnTo>
                        <a:pt x="353" y="1044"/>
                      </a:lnTo>
                      <a:lnTo>
                        <a:pt x="328" y="1035"/>
                      </a:lnTo>
                      <a:lnTo>
                        <a:pt x="305" y="1024"/>
                      </a:lnTo>
                      <a:lnTo>
                        <a:pt x="281" y="1012"/>
                      </a:lnTo>
                      <a:lnTo>
                        <a:pt x="258" y="999"/>
                      </a:lnTo>
                      <a:lnTo>
                        <a:pt x="237" y="985"/>
                      </a:lnTo>
                      <a:lnTo>
                        <a:pt x="216" y="971"/>
                      </a:lnTo>
                      <a:lnTo>
                        <a:pt x="196" y="954"/>
                      </a:lnTo>
                      <a:lnTo>
                        <a:pt x="175" y="937"/>
                      </a:lnTo>
                      <a:lnTo>
                        <a:pt x="157" y="919"/>
                      </a:lnTo>
                      <a:lnTo>
                        <a:pt x="139" y="901"/>
                      </a:lnTo>
                      <a:lnTo>
                        <a:pt x="122" y="881"/>
                      </a:lnTo>
                      <a:lnTo>
                        <a:pt x="107" y="860"/>
                      </a:lnTo>
                      <a:lnTo>
                        <a:pt x="92" y="839"/>
                      </a:lnTo>
                      <a:lnTo>
                        <a:pt x="77" y="818"/>
                      </a:lnTo>
                      <a:lnTo>
                        <a:pt x="64" y="795"/>
                      </a:lnTo>
                      <a:lnTo>
                        <a:pt x="52" y="772"/>
                      </a:lnTo>
                      <a:lnTo>
                        <a:pt x="42" y="748"/>
                      </a:lnTo>
                      <a:lnTo>
                        <a:pt x="32" y="724"/>
                      </a:lnTo>
                      <a:lnTo>
                        <a:pt x="24" y="699"/>
                      </a:lnTo>
                      <a:lnTo>
                        <a:pt x="16" y="674"/>
                      </a:lnTo>
                      <a:lnTo>
                        <a:pt x="10" y="647"/>
                      </a:lnTo>
                      <a:lnTo>
                        <a:pt x="6" y="621"/>
                      </a:lnTo>
                      <a:lnTo>
                        <a:pt x="2" y="594"/>
                      </a:lnTo>
                      <a:lnTo>
                        <a:pt x="0" y="567"/>
                      </a:lnTo>
                      <a:lnTo>
                        <a:pt x="0" y="538"/>
                      </a:lnTo>
                      <a:lnTo>
                        <a:pt x="0" y="538"/>
                      </a:lnTo>
                      <a:lnTo>
                        <a:pt x="0" y="511"/>
                      </a:lnTo>
                      <a:lnTo>
                        <a:pt x="2" y="484"/>
                      </a:lnTo>
                      <a:lnTo>
                        <a:pt x="6" y="456"/>
                      </a:lnTo>
                      <a:lnTo>
                        <a:pt x="10" y="430"/>
                      </a:lnTo>
                      <a:lnTo>
                        <a:pt x="16" y="404"/>
                      </a:lnTo>
                      <a:lnTo>
                        <a:pt x="24" y="379"/>
                      </a:lnTo>
                      <a:lnTo>
                        <a:pt x="32" y="353"/>
                      </a:lnTo>
                      <a:lnTo>
                        <a:pt x="42" y="329"/>
                      </a:lnTo>
                      <a:lnTo>
                        <a:pt x="52" y="306"/>
                      </a:lnTo>
                      <a:lnTo>
                        <a:pt x="64" y="283"/>
                      </a:lnTo>
                      <a:lnTo>
                        <a:pt x="77" y="260"/>
                      </a:lnTo>
                      <a:lnTo>
                        <a:pt x="92" y="238"/>
                      </a:lnTo>
                      <a:lnTo>
                        <a:pt x="107" y="217"/>
                      </a:lnTo>
                      <a:lnTo>
                        <a:pt x="122" y="197"/>
                      </a:lnTo>
                      <a:lnTo>
                        <a:pt x="139" y="177"/>
                      </a:lnTo>
                      <a:lnTo>
                        <a:pt x="157" y="159"/>
                      </a:lnTo>
                      <a:lnTo>
                        <a:pt x="175" y="140"/>
                      </a:lnTo>
                      <a:lnTo>
                        <a:pt x="196" y="123"/>
                      </a:lnTo>
                      <a:lnTo>
                        <a:pt x="216" y="107"/>
                      </a:lnTo>
                      <a:lnTo>
                        <a:pt x="237" y="93"/>
                      </a:lnTo>
                      <a:lnTo>
                        <a:pt x="258" y="79"/>
                      </a:lnTo>
                      <a:lnTo>
                        <a:pt x="281" y="66"/>
                      </a:lnTo>
                      <a:lnTo>
                        <a:pt x="305" y="53"/>
                      </a:lnTo>
                      <a:lnTo>
                        <a:pt x="328" y="42"/>
                      </a:lnTo>
                      <a:lnTo>
                        <a:pt x="353" y="33"/>
                      </a:lnTo>
                      <a:lnTo>
                        <a:pt x="377" y="24"/>
                      </a:lnTo>
                      <a:lnTo>
                        <a:pt x="404" y="17"/>
                      </a:lnTo>
                      <a:lnTo>
                        <a:pt x="429" y="11"/>
                      </a:lnTo>
                      <a:lnTo>
                        <a:pt x="456" y="6"/>
                      </a:lnTo>
                      <a:lnTo>
                        <a:pt x="482" y="3"/>
                      </a:lnTo>
                      <a:lnTo>
                        <a:pt x="510" y="1"/>
                      </a:lnTo>
                      <a:lnTo>
                        <a:pt x="538" y="0"/>
                      </a:lnTo>
                      <a:lnTo>
                        <a:pt x="538" y="0"/>
                      </a:lnTo>
                      <a:lnTo>
                        <a:pt x="565" y="1"/>
                      </a:lnTo>
                      <a:lnTo>
                        <a:pt x="593" y="3"/>
                      </a:lnTo>
                      <a:lnTo>
                        <a:pt x="620" y="6"/>
                      </a:lnTo>
                      <a:lnTo>
                        <a:pt x="646" y="11"/>
                      </a:lnTo>
                      <a:lnTo>
                        <a:pt x="672" y="17"/>
                      </a:lnTo>
                      <a:lnTo>
                        <a:pt x="698" y="24"/>
                      </a:lnTo>
                      <a:lnTo>
                        <a:pt x="723" y="33"/>
                      </a:lnTo>
                      <a:lnTo>
                        <a:pt x="747" y="42"/>
                      </a:lnTo>
                      <a:lnTo>
                        <a:pt x="771" y="53"/>
                      </a:lnTo>
                      <a:lnTo>
                        <a:pt x="795" y="66"/>
                      </a:lnTo>
                      <a:lnTo>
                        <a:pt x="817" y="79"/>
                      </a:lnTo>
                      <a:lnTo>
                        <a:pt x="839" y="93"/>
                      </a:lnTo>
                      <a:lnTo>
                        <a:pt x="860" y="107"/>
                      </a:lnTo>
                      <a:lnTo>
                        <a:pt x="880" y="123"/>
                      </a:lnTo>
                      <a:lnTo>
                        <a:pt x="900" y="140"/>
                      </a:lnTo>
                      <a:lnTo>
                        <a:pt x="919" y="159"/>
                      </a:lnTo>
                      <a:lnTo>
                        <a:pt x="936" y="177"/>
                      </a:lnTo>
                      <a:lnTo>
                        <a:pt x="953" y="197"/>
                      </a:lnTo>
                      <a:lnTo>
                        <a:pt x="969" y="217"/>
                      </a:lnTo>
                      <a:lnTo>
                        <a:pt x="984" y="238"/>
                      </a:lnTo>
                      <a:lnTo>
                        <a:pt x="999" y="260"/>
                      </a:lnTo>
                      <a:lnTo>
                        <a:pt x="1011" y="283"/>
                      </a:lnTo>
                      <a:lnTo>
                        <a:pt x="1023" y="306"/>
                      </a:lnTo>
                      <a:lnTo>
                        <a:pt x="1034" y="329"/>
                      </a:lnTo>
                      <a:lnTo>
                        <a:pt x="1043" y="353"/>
                      </a:lnTo>
                      <a:lnTo>
                        <a:pt x="1052" y="379"/>
                      </a:lnTo>
                      <a:lnTo>
                        <a:pt x="1059" y="404"/>
                      </a:lnTo>
                      <a:lnTo>
                        <a:pt x="1065" y="430"/>
                      </a:lnTo>
                      <a:lnTo>
                        <a:pt x="1070" y="456"/>
                      </a:lnTo>
                      <a:lnTo>
                        <a:pt x="1073" y="484"/>
                      </a:lnTo>
                      <a:lnTo>
                        <a:pt x="1075" y="511"/>
                      </a:lnTo>
                      <a:lnTo>
                        <a:pt x="1076" y="538"/>
                      </a:lnTo>
                      <a:lnTo>
                        <a:pt x="1076" y="538"/>
                      </a:lnTo>
                      <a:lnTo>
                        <a:pt x="1075" y="567"/>
                      </a:lnTo>
                      <a:lnTo>
                        <a:pt x="1073" y="594"/>
                      </a:lnTo>
                      <a:lnTo>
                        <a:pt x="1070" y="621"/>
                      </a:lnTo>
                      <a:lnTo>
                        <a:pt x="1065" y="647"/>
                      </a:lnTo>
                      <a:lnTo>
                        <a:pt x="1059" y="674"/>
                      </a:lnTo>
                      <a:lnTo>
                        <a:pt x="1052" y="699"/>
                      </a:lnTo>
                      <a:lnTo>
                        <a:pt x="1043" y="724"/>
                      </a:lnTo>
                      <a:lnTo>
                        <a:pt x="1034" y="748"/>
                      </a:lnTo>
                      <a:lnTo>
                        <a:pt x="1023" y="772"/>
                      </a:lnTo>
                      <a:lnTo>
                        <a:pt x="1011" y="795"/>
                      </a:lnTo>
                      <a:lnTo>
                        <a:pt x="999" y="818"/>
                      </a:lnTo>
                      <a:lnTo>
                        <a:pt x="984" y="839"/>
                      </a:lnTo>
                      <a:lnTo>
                        <a:pt x="969" y="860"/>
                      </a:lnTo>
                      <a:lnTo>
                        <a:pt x="953" y="881"/>
                      </a:lnTo>
                      <a:lnTo>
                        <a:pt x="936" y="901"/>
                      </a:lnTo>
                      <a:lnTo>
                        <a:pt x="919" y="919"/>
                      </a:lnTo>
                      <a:lnTo>
                        <a:pt x="900" y="937"/>
                      </a:lnTo>
                      <a:lnTo>
                        <a:pt x="880" y="954"/>
                      </a:lnTo>
                      <a:lnTo>
                        <a:pt x="860" y="971"/>
                      </a:lnTo>
                      <a:lnTo>
                        <a:pt x="839" y="985"/>
                      </a:lnTo>
                      <a:lnTo>
                        <a:pt x="817" y="999"/>
                      </a:lnTo>
                      <a:lnTo>
                        <a:pt x="795" y="1012"/>
                      </a:lnTo>
                      <a:lnTo>
                        <a:pt x="771" y="1024"/>
                      </a:lnTo>
                      <a:lnTo>
                        <a:pt x="747" y="1035"/>
                      </a:lnTo>
                      <a:lnTo>
                        <a:pt x="723" y="1044"/>
                      </a:lnTo>
                      <a:lnTo>
                        <a:pt x="698" y="1053"/>
                      </a:lnTo>
                      <a:lnTo>
                        <a:pt x="672" y="1060"/>
                      </a:lnTo>
                      <a:lnTo>
                        <a:pt x="646" y="1067"/>
                      </a:lnTo>
                      <a:lnTo>
                        <a:pt x="620" y="1071"/>
                      </a:lnTo>
                      <a:lnTo>
                        <a:pt x="593" y="1075"/>
                      </a:lnTo>
                      <a:lnTo>
                        <a:pt x="565" y="1077"/>
                      </a:lnTo>
                      <a:lnTo>
                        <a:pt x="538" y="1078"/>
                      </a:lnTo>
                      <a:lnTo>
                        <a:pt x="538" y="1078"/>
                      </a:lnTo>
                      <a:close/>
                      <a:moveTo>
                        <a:pt x="538" y="57"/>
                      </a:moveTo>
                      <a:lnTo>
                        <a:pt x="538" y="57"/>
                      </a:lnTo>
                      <a:lnTo>
                        <a:pt x="513" y="58"/>
                      </a:lnTo>
                      <a:lnTo>
                        <a:pt x="488" y="60"/>
                      </a:lnTo>
                      <a:lnTo>
                        <a:pt x="464" y="63"/>
                      </a:lnTo>
                      <a:lnTo>
                        <a:pt x="441" y="67"/>
                      </a:lnTo>
                      <a:lnTo>
                        <a:pt x="418" y="72"/>
                      </a:lnTo>
                      <a:lnTo>
                        <a:pt x="395" y="79"/>
                      </a:lnTo>
                      <a:lnTo>
                        <a:pt x="372" y="86"/>
                      </a:lnTo>
                      <a:lnTo>
                        <a:pt x="350" y="95"/>
                      </a:lnTo>
                      <a:lnTo>
                        <a:pt x="329" y="105"/>
                      </a:lnTo>
                      <a:lnTo>
                        <a:pt x="309" y="115"/>
                      </a:lnTo>
                      <a:lnTo>
                        <a:pt x="288" y="127"/>
                      </a:lnTo>
                      <a:lnTo>
                        <a:pt x="268" y="139"/>
                      </a:lnTo>
                      <a:lnTo>
                        <a:pt x="250" y="152"/>
                      </a:lnTo>
                      <a:lnTo>
                        <a:pt x="231" y="168"/>
                      </a:lnTo>
                      <a:lnTo>
                        <a:pt x="214" y="183"/>
                      </a:lnTo>
                      <a:lnTo>
                        <a:pt x="198" y="198"/>
                      </a:lnTo>
                      <a:lnTo>
                        <a:pt x="181" y="215"/>
                      </a:lnTo>
                      <a:lnTo>
                        <a:pt x="166" y="232"/>
                      </a:lnTo>
                      <a:lnTo>
                        <a:pt x="152" y="250"/>
                      </a:lnTo>
                      <a:lnTo>
                        <a:pt x="138" y="270"/>
                      </a:lnTo>
                      <a:lnTo>
                        <a:pt x="126" y="289"/>
                      </a:lnTo>
                      <a:lnTo>
                        <a:pt x="114" y="309"/>
                      </a:lnTo>
                      <a:lnTo>
                        <a:pt x="104" y="330"/>
                      </a:lnTo>
                      <a:lnTo>
                        <a:pt x="94" y="351"/>
                      </a:lnTo>
                      <a:lnTo>
                        <a:pt x="85" y="374"/>
                      </a:lnTo>
                      <a:lnTo>
                        <a:pt x="77" y="396"/>
                      </a:lnTo>
                      <a:lnTo>
                        <a:pt x="71" y="418"/>
                      </a:lnTo>
                      <a:lnTo>
                        <a:pt x="65" y="441"/>
                      </a:lnTo>
                      <a:lnTo>
                        <a:pt x="61" y="466"/>
                      </a:lnTo>
                      <a:lnTo>
                        <a:pt x="58" y="490"/>
                      </a:lnTo>
                      <a:lnTo>
                        <a:pt x="56" y="514"/>
                      </a:lnTo>
                      <a:lnTo>
                        <a:pt x="56" y="538"/>
                      </a:lnTo>
                      <a:lnTo>
                        <a:pt x="56" y="538"/>
                      </a:lnTo>
                      <a:lnTo>
                        <a:pt x="56" y="564"/>
                      </a:lnTo>
                      <a:lnTo>
                        <a:pt x="58" y="588"/>
                      </a:lnTo>
                      <a:lnTo>
                        <a:pt x="61" y="612"/>
                      </a:lnTo>
                      <a:lnTo>
                        <a:pt x="65" y="635"/>
                      </a:lnTo>
                      <a:lnTo>
                        <a:pt x="71" y="659"/>
                      </a:lnTo>
                      <a:lnTo>
                        <a:pt x="77" y="682"/>
                      </a:lnTo>
                      <a:lnTo>
                        <a:pt x="85" y="704"/>
                      </a:lnTo>
                      <a:lnTo>
                        <a:pt x="94" y="726"/>
                      </a:lnTo>
                      <a:lnTo>
                        <a:pt x="104" y="747"/>
                      </a:lnTo>
                      <a:lnTo>
                        <a:pt x="114" y="769"/>
                      </a:lnTo>
                      <a:lnTo>
                        <a:pt x="126" y="789"/>
                      </a:lnTo>
                      <a:lnTo>
                        <a:pt x="138" y="808"/>
                      </a:lnTo>
                      <a:lnTo>
                        <a:pt x="152" y="827"/>
                      </a:lnTo>
                      <a:lnTo>
                        <a:pt x="166" y="845"/>
                      </a:lnTo>
                      <a:lnTo>
                        <a:pt x="181" y="862"/>
                      </a:lnTo>
                      <a:lnTo>
                        <a:pt x="198" y="880"/>
                      </a:lnTo>
                      <a:lnTo>
                        <a:pt x="214" y="895"/>
                      </a:lnTo>
                      <a:lnTo>
                        <a:pt x="231" y="910"/>
                      </a:lnTo>
                      <a:lnTo>
                        <a:pt x="250" y="925"/>
                      </a:lnTo>
                      <a:lnTo>
                        <a:pt x="268" y="938"/>
                      </a:lnTo>
                      <a:lnTo>
                        <a:pt x="288" y="950"/>
                      </a:lnTo>
                      <a:lnTo>
                        <a:pt x="309" y="962"/>
                      </a:lnTo>
                      <a:lnTo>
                        <a:pt x="329" y="973"/>
                      </a:lnTo>
                      <a:lnTo>
                        <a:pt x="350" y="983"/>
                      </a:lnTo>
                      <a:lnTo>
                        <a:pt x="372" y="992"/>
                      </a:lnTo>
                      <a:lnTo>
                        <a:pt x="395" y="999"/>
                      </a:lnTo>
                      <a:lnTo>
                        <a:pt x="418" y="1005"/>
                      </a:lnTo>
                      <a:lnTo>
                        <a:pt x="441" y="1011"/>
                      </a:lnTo>
                      <a:lnTo>
                        <a:pt x="464" y="1015"/>
                      </a:lnTo>
                      <a:lnTo>
                        <a:pt x="488" y="1018"/>
                      </a:lnTo>
                      <a:lnTo>
                        <a:pt x="513" y="1020"/>
                      </a:lnTo>
                      <a:lnTo>
                        <a:pt x="538" y="1021"/>
                      </a:lnTo>
                      <a:lnTo>
                        <a:pt x="538" y="1021"/>
                      </a:lnTo>
                      <a:lnTo>
                        <a:pt x="562" y="1020"/>
                      </a:lnTo>
                      <a:lnTo>
                        <a:pt x="586" y="1018"/>
                      </a:lnTo>
                      <a:lnTo>
                        <a:pt x="611" y="1015"/>
                      </a:lnTo>
                      <a:lnTo>
                        <a:pt x="635" y="1011"/>
                      </a:lnTo>
                      <a:lnTo>
                        <a:pt x="658" y="1005"/>
                      </a:lnTo>
                      <a:lnTo>
                        <a:pt x="680" y="999"/>
                      </a:lnTo>
                      <a:lnTo>
                        <a:pt x="704" y="992"/>
                      </a:lnTo>
                      <a:lnTo>
                        <a:pt x="725" y="983"/>
                      </a:lnTo>
                      <a:lnTo>
                        <a:pt x="746" y="973"/>
                      </a:lnTo>
                      <a:lnTo>
                        <a:pt x="767" y="962"/>
                      </a:lnTo>
                      <a:lnTo>
                        <a:pt x="787" y="950"/>
                      </a:lnTo>
                      <a:lnTo>
                        <a:pt x="807" y="938"/>
                      </a:lnTo>
                      <a:lnTo>
                        <a:pt x="826" y="925"/>
                      </a:lnTo>
                      <a:lnTo>
                        <a:pt x="844" y="910"/>
                      </a:lnTo>
                      <a:lnTo>
                        <a:pt x="861" y="895"/>
                      </a:lnTo>
                      <a:lnTo>
                        <a:pt x="878" y="880"/>
                      </a:lnTo>
                      <a:lnTo>
                        <a:pt x="895" y="862"/>
                      </a:lnTo>
                      <a:lnTo>
                        <a:pt x="910" y="845"/>
                      </a:lnTo>
                      <a:lnTo>
                        <a:pt x="924" y="827"/>
                      </a:lnTo>
                      <a:lnTo>
                        <a:pt x="937" y="808"/>
                      </a:lnTo>
                      <a:lnTo>
                        <a:pt x="950" y="789"/>
                      </a:lnTo>
                      <a:lnTo>
                        <a:pt x="961" y="769"/>
                      </a:lnTo>
                      <a:lnTo>
                        <a:pt x="972" y="747"/>
                      </a:lnTo>
                      <a:lnTo>
                        <a:pt x="981" y="726"/>
                      </a:lnTo>
                      <a:lnTo>
                        <a:pt x="990" y="704"/>
                      </a:lnTo>
                      <a:lnTo>
                        <a:pt x="998" y="682"/>
                      </a:lnTo>
                      <a:lnTo>
                        <a:pt x="1005" y="659"/>
                      </a:lnTo>
                      <a:lnTo>
                        <a:pt x="1010" y="635"/>
                      </a:lnTo>
                      <a:lnTo>
                        <a:pt x="1014" y="612"/>
                      </a:lnTo>
                      <a:lnTo>
                        <a:pt x="1017" y="588"/>
                      </a:lnTo>
                      <a:lnTo>
                        <a:pt x="1019" y="564"/>
                      </a:lnTo>
                      <a:lnTo>
                        <a:pt x="1020" y="538"/>
                      </a:lnTo>
                      <a:lnTo>
                        <a:pt x="1020" y="538"/>
                      </a:lnTo>
                      <a:lnTo>
                        <a:pt x="1019" y="514"/>
                      </a:lnTo>
                      <a:lnTo>
                        <a:pt x="1017" y="490"/>
                      </a:lnTo>
                      <a:lnTo>
                        <a:pt x="1014" y="466"/>
                      </a:lnTo>
                      <a:lnTo>
                        <a:pt x="1010" y="441"/>
                      </a:lnTo>
                      <a:lnTo>
                        <a:pt x="1005" y="418"/>
                      </a:lnTo>
                      <a:lnTo>
                        <a:pt x="998" y="396"/>
                      </a:lnTo>
                      <a:lnTo>
                        <a:pt x="990" y="374"/>
                      </a:lnTo>
                      <a:lnTo>
                        <a:pt x="981" y="351"/>
                      </a:lnTo>
                      <a:lnTo>
                        <a:pt x="972" y="330"/>
                      </a:lnTo>
                      <a:lnTo>
                        <a:pt x="961" y="309"/>
                      </a:lnTo>
                      <a:lnTo>
                        <a:pt x="950" y="289"/>
                      </a:lnTo>
                      <a:lnTo>
                        <a:pt x="937" y="270"/>
                      </a:lnTo>
                      <a:lnTo>
                        <a:pt x="924" y="250"/>
                      </a:lnTo>
                      <a:lnTo>
                        <a:pt x="910" y="232"/>
                      </a:lnTo>
                      <a:lnTo>
                        <a:pt x="895" y="215"/>
                      </a:lnTo>
                      <a:lnTo>
                        <a:pt x="878" y="198"/>
                      </a:lnTo>
                      <a:lnTo>
                        <a:pt x="861" y="183"/>
                      </a:lnTo>
                      <a:lnTo>
                        <a:pt x="844" y="168"/>
                      </a:lnTo>
                      <a:lnTo>
                        <a:pt x="826" y="152"/>
                      </a:lnTo>
                      <a:lnTo>
                        <a:pt x="807" y="139"/>
                      </a:lnTo>
                      <a:lnTo>
                        <a:pt x="787" y="127"/>
                      </a:lnTo>
                      <a:lnTo>
                        <a:pt x="767" y="115"/>
                      </a:lnTo>
                      <a:lnTo>
                        <a:pt x="746" y="105"/>
                      </a:lnTo>
                      <a:lnTo>
                        <a:pt x="725" y="95"/>
                      </a:lnTo>
                      <a:lnTo>
                        <a:pt x="704" y="86"/>
                      </a:lnTo>
                      <a:lnTo>
                        <a:pt x="680" y="79"/>
                      </a:lnTo>
                      <a:lnTo>
                        <a:pt x="658" y="72"/>
                      </a:lnTo>
                      <a:lnTo>
                        <a:pt x="635" y="67"/>
                      </a:lnTo>
                      <a:lnTo>
                        <a:pt x="611" y="63"/>
                      </a:lnTo>
                      <a:lnTo>
                        <a:pt x="586" y="60"/>
                      </a:lnTo>
                      <a:lnTo>
                        <a:pt x="562" y="58"/>
                      </a:lnTo>
                      <a:lnTo>
                        <a:pt x="538" y="57"/>
                      </a:lnTo>
                      <a:lnTo>
                        <a:pt x="538" y="5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>
                    <a:defRPr/>
                  </a:pPr>
                  <a:endParaRPr lang="en-US" sz="7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Freeform 94">
                  <a:extLst>
                    <a:ext uri="{FF2B5EF4-FFF2-40B4-BE49-F238E27FC236}">
                      <a16:creationId xmlns:a16="http://schemas.microsoft.com/office/drawing/2014/main" id="{4EE35453-66AD-6DB3-4C71-9E98C7ED98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86238" y="796925"/>
                  <a:ext cx="149225" cy="142875"/>
                </a:xfrm>
                <a:custGeom>
                  <a:avLst/>
                  <a:gdLst>
                    <a:gd name="T0" fmla="*/ 446 w 567"/>
                    <a:gd name="T1" fmla="*/ 537 h 538"/>
                    <a:gd name="T2" fmla="*/ 128 w 567"/>
                    <a:gd name="T3" fmla="*/ 534 h 538"/>
                    <a:gd name="T4" fmla="*/ 120 w 567"/>
                    <a:gd name="T5" fmla="*/ 537 h 538"/>
                    <a:gd name="T6" fmla="*/ 108 w 567"/>
                    <a:gd name="T7" fmla="*/ 538 h 538"/>
                    <a:gd name="T8" fmla="*/ 96 w 567"/>
                    <a:gd name="T9" fmla="*/ 532 h 538"/>
                    <a:gd name="T10" fmla="*/ 91 w 567"/>
                    <a:gd name="T11" fmla="*/ 526 h 538"/>
                    <a:gd name="T12" fmla="*/ 86 w 567"/>
                    <a:gd name="T13" fmla="*/ 515 h 538"/>
                    <a:gd name="T14" fmla="*/ 86 w 567"/>
                    <a:gd name="T15" fmla="*/ 501 h 538"/>
                    <a:gd name="T16" fmla="*/ 11 w 567"/>
                    <a:gd name="T17" fmla="*/ 220 h 538"/>
                    <a:gd name="T18" fmla="*/ 3 w 567"/>
                    <a:gd name="T19" fmla="*/ 210 h 538"/>
                    <a:gd name="T20" fmla="*/ 0 w 567"/>
                    <a:gd name="T21" fmla="*/ 197 h 538"/>
                    <a:gd name="T22" fmla="*/ 2 w 567"/>
                    <a:gd name="T23" fmla="*/ 188 h 538"/>
                    <a:gd name="T24" fmla="*/ 9 w 567"/>
                    <a:gd name="T25" fmla="*/ 177 h 538"/>
                    <a:gd name="T26" fmla="*/ 20 w 567"/>
                    <a:gd name="T27" fmla="*/ 171 h 538"/>
                    <a:gd name="T28" fmla="*/ 181 w 567"/>
                    <a:gd name="T29" fmla="*/ 169 h 538"/>
                    <a:gd name="T30" fmla="*/ 261 w 567"/>
                    <a:gd name="T31" fmla="*/ 12 h 538"/>
                    <a:gd name="T32" fmla="*/ 276 w 567"/>
                    <a:gd name="T33" fmla="*/ 1 h 538"/>
                    <a:gd name="T34" fmla="*/ 298 w 567"/>
                    <a:gd name="T35" fmla="*/ 5 h 538"/>
                    <a:gd name="T36" fmla="*/ 309 w 567"/>
                    <a:gd name="T37" fmla="*/ 15 h 538"/>
                    <a:gd name="T38" fmla="*/ 539 w 567"/>
                    <a:gd name="T39" fmla="*/ 169 h 538"/>
                    <a:gd name="T40" fmla="*/ 552 w 567"/>
                    <a:gd name="T41" fmla="*/ 172 h 538"/>
                    <a:gd name="T42" fmla="*/ 562 w 567"/>
                    <a:gd name="T43" fmla="*/ 180 h 538"/>
                    <a:gd name="T44" fmla="*/ 566 w 567"/>
                    <a:gd name="T45" fmla="*/ 188 h 538"/>
                    <a:gd name="T46" fmla="*/ 567 w 567"/>
                    <a:gd name="T47" fmla="*/ 201 h 538"/>
                    <a:gd name="T48" fmla="*/ 563 w 567"/>
                    <a:gd name="T49" fmla="*/ 214 h 538"/>
                    <a:gd name="T50" fmla="*/ 429 w 567"/>
                    <a:gd name="T51" fmla="*/ 322 h 538"/>
                    <a:gd name="T52" fmla="*/ 482 w 567"/>
                    <a:gd name="T53" fmla="*/ 505 h 538"/>
                    <a:gd name="T54" fmla="*/ 481 w 567"/>
                    <a:gd name="T55" fmla="*/ 519 h 538"/>
                    <a:gd name="T56" fmla="*/ 474 w 567"/>
                    <a:gd name="T57" fmla="*/ 530 h 538"/>
                    <a:gd name="T58" fmla="*/ 467 w 567"/>
                    <a:gd name="T59" fmla="*/ 535 h 538"/>
                    <a:gd name="T60" fmla="*/ 454 w 567"/>
                    <a:gd name="T61" fmla="*/ 538 h 538"/>
                    <a:gd name="T62" fmla="*/ 284 w 567"/>
                    <a:gd name="T63" fmla="*/ 375 h 538"/>
                    <a:gd name="T64" fmla="*/ 406 w 567"/>
                    <a:gd name="T65" fmla="*/ 446 h 538"/>
                    <a:gd name="T66" fmla="*/ 369 w 567"/>
                    <a:gd name="T67" fmla="*/ 315 h 538"/>
                    <a:gd name="T68" fmla="*/ 374 w 567"/>
                    <a:gd name="T69" fmla="*/ 295 h 538"/>
                    <a:gd name="T70" fmla="*/ 458 w 567"/>
                    <a:gd name="T71" fmla="*/ 226 h 538"/>
                    <a:gd name="T72" fmla="*/ 361 w 567"/>
                    <a:gd name="T73" fmla="*/ 225 h 538"/>
                    <a:gd name="T74" fmla="*/ 344 w 567"/>
                    <a:gd name="T75" fmla="*/ 211 h 538"/>
                    <a:gd name="T76" fmla="*/ 224 w 567"/>
                    <a:gd name="T77" fmla="*/ 211 h 538"/>
                    <a:gd name="T78" fmla="*/ 206 w 567"/>
                    <a:gd name="T79" fmla="*/ 225 h 538"/>
                    <a:gd name="T80" fmla="*/ 188 w 567"/>
                    <a:gd name="T81" fmla="*/ 289 h 538"/>
                    <a:gd name="T82" fmla="*/ 194 w 567"/>
                    <a:gd name="T83" fmla="*/ 295 h 538"/>
                    <a:gd name="T84" fmla="*/ 198 w 567"/>
                    <a:gd name="T85" fmla="*/ 315 h 538"/>
                    <a:gd name="T86" fmla="*/ 269 w 567"/>
                    <a:gd name="T87" fmla="*/ 379 h 538"/>
                    <a:gd name="T88" fmla="*/ 284 w 567"/>
                    <a:gd name="T89" fmla="*/ 375 h 5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567" h="538">
                      <a:moveTo>
                        <a:pt x="454" y="538"/>
                      </a:moveTo>
                      <a:lnTo>
                        <a:pt x="454" y="538"/>
                      </a:lnTo>
                      <a:lnTo>
                        <a:pt x="446" y="537"/>
                      </a:lnTo>
                      <a:lnTo>
                        <a:pt x="439" y="534"/>
                      </a:lnTo>
                      <a:lnTo>
                        <a:pt x="284" y="437"/>
                      </a:lnTo>
                      <a:lnTo>
                        <a:pt x="128" y="534"/>
                      </a:lnTo>
                      <a:lnTo>
                        <a:pt x="128" y="534"/>
                      </a:lnTo>
                      <a:lnTo>
                        <a:pt x="124" y="536"/>
                      </a:lnTo>
                      <a:lnTo>
                        <a:pt x="120" y="537"/>
                      </a:lnTo>
                      <a:lnTo>
                        <a:pt x="116" y="538"/>
                      </a:lnTo>
                      <a:lnTo>
                        <a:pt x="112" y="538"/>
                      </a:lnTo>
                      <a:lnTo>
                        <a:pt x="108" y="538"/>
                      </a:lnTo>
                      <a:lnTo>
                        <a:pt x="104" y="536"/>
                      </a:lnTo>
                      <a:lnTo>
                        <a:pt x="100" y="535"/>
                      </a:lnTo>
                      <a:lnTo>
                        <a:pt x="96" y="532"/>
                      </a:lnTo>
                      <a:lnTo>
                        <a:pt x="96" y="532"/>
                      </a:lnTo>
                      <a:lnTo>
                        <a:pt x="93" y="530"/>
                      </a:lnTo>
                      <a:lnTo>
                        <a:pt x="91" y="526"/>
                      </a:lnTo>
                      <a:lnTo>
                        <a:pt x="88" y="523"/>
                      </a:lnTo>
                      <a:lnTo>
                        <a:pt x="87" y="519"/>
                      </a:lnTo>
                      <a:lnTo>
                        <a:pt x="86" y="515"/>
                      </a:lnTo>
                      <a:lnTo>
                        <a:pt x="85" y="511"/>
                      </a:lnTo>
                      <a:lnTo>
                        <a:pt x="86" y="505"/>
                      </a:lnTo>
                      <a:lnTo>
                        <a:pt x="86" y="501"/>
                      </a:lnTo>
                      <a:lnTo>
                        <a:pt x="138" y="322"/>
                      </a:lnTo>
                      <a:lnTo>
                        <a:pt x="11" y="220"/>
                      </a:lnTo>
                      <a:lnTo>
                        <a:pt x="11" y="220"/>
                      </a:lnTo>
                      <a:lnTo>
                        <a:pt x="7" y="217"/>
                      </a:lnTo>
                      <a:lnTo>
                        <a:pt x="5" y="214"/>
                      </a:lnTo>
                      <a:lnTo>
                        <a:pt x="3" y="210"/>
                      </a:lnTo>
                      <a:lnTo>
                        <a:pt x="1" y="206"/>
                      </a:lnTo>
                      <a:lnTo>
                        <a:pt x="0" y="201"/>
                      </a:lnTo>
                      <a:lnTo>
                        <a:pt x="0" y="197"/>
                      </a:lnTo>
                      <a:lnTo>
                        <a:pt x="1" y="192"/>
                      </a:lnTo>
                      <a:lnTo>
                        <a:pt x="2" y="188"/>
                      </a:lnTo>
                      <a:lnTo>
                        <a:pt x="2" y="188"/>
                      </a:lnTo>
                      <a:lnTo>
                        <a:pt x="3" y="184"/>
                      </a:lnTo>
                      <a:lnTo>
                        <a:pt x="6" y="180"/>
                      </a:lnTo>
                      <a:lnTo>
                        <a:pt x="9" y="177"/>
                      </a:lnTo>
                      <a:lnTo>
                        <a:pt x="12" y="174"/>
                      </a:lnTo>
                      <a:lnTo>
                        <a:pt x="16" y="172"/>
                      </a:lnTo>
                      <a:lnTo>
                        <a:pt x="20" y="171"/>
                      </a:lnTo>
                      <a:lnTo>
                        <a:pt x="24" y="170"/>
                      </a:lnTo>
                      <a:lnTo>
                        <a:pt x="28" y="169"/>
                      </a:lnTo>
                      <a:lnTo>
                        <a:pt x="181" y="169"/>
                      </a:lnTo>
                      <a:lnTo>
                        <a:pt x="259" y="15"/>
                      </a:lnTo>
                      <a:lnTo>
                        <a:pt x="259" y="15"/>
                      </a:lnTo>
                      <a:lnTo>
                        <a:pt x="261" y="12"/>
                      </a:lnTo>
                      <a:lnTo>
                        <a:pt x="263" y="9"/>
                      </a:lnTo>
                      <a:lnTo>
                        <a:pt x="269" y="5"/>
                      </a:lnTo>
                      <a:lnTo>
                        <a:pt x="276" y="1"/>
                      </a:lnTo>
                      <a:lnTo>
                        <a:pt x="284" y="0"/>
                      </a:lnTo>
                      <a:lnTo>
                        <a:pt x="291" y="1"/>
                      </a:lnTo>
                      <a:lnTo>
                        <a:pt x="298" y="5"/>
                      </a:lnTo>
                      <a:lnTo>
                        <a:pt x="304" y="9"/>
                      </a:lnTo>
                      <a:lnTo>
                        <a:pt x="307" y="12"/>
                      </a:lnTo>
                      <a:lnTo>
                        <a:pt x="309" y="15"/>
                      </a:lnTo>
                      <a:lnTo>
                        <a:pt x="386" y="169"/>
                      </a:lnTo>
                      <a:lnTo>
                        <a:pt x="539" y="169"/>
                      </a:lnTo>
                      <a:lnTo>
                        <a:pt x="539" y="169"/>
                      </a:lnTo>
                      <a:lnTo>
                        <a:pt x="544" y="170"/>
                      </a:lnTo>
                      <a:lnTo>
                        <a:pt x="548" y="171"/>
                      </a:lnTo>
                      <a:lnTo>
                        <a:pt x="552" y="172"/>
                      </a:lnTo>
                      <a:lnTo>
                        <a:pt x="555" y="174"/>
                      </a:lnTo>
                      <a:lnTo>
                        <a:pt x="559" y="177"/>
                      </a:lnTo>
                      <a:lnTo>
                        <a:pt x="562" y="180"/>
                      </a:lnTo>
                      <a:lnTo>
                        <a:pt x="564" y="184"/>
                      </a:lnTo>
                      <a:lnTo>
                        <a:pt x="566" y="188"/>
                      </a:lnTo>
                      <a:lnTo>
                        <a:pt x="566" y="188"/>
                      </a:lnTo>
                      <a:lnTo>
                        <a:pt x="567" y="192"/>
                      </a:lnTo>
                      <a:lnTo>
                        <a:pt x="567" y="197"/>
                      </a:lnTo>
                      <a:lnTo>
                        <a:pt x="567" y="201"/>
                      </a:lnTo>
                      <a:lnTo>
                        <a:pt x="566" y="206"/>
                      </a:lnTo>
                      <a:lnTo>
                        <a:pt x="565" y="210"/>
                      </a:lnTo>
                      <a:lnTo>
                        <a:pt x="563" y="214"/>
                      </a:lnTo>
                      <a:lnTo>
                        <a:pt x="560" y="217"/>
                      </a:lnTo>
                      <a:lnTo>
                        <a:pt x="557" y="220"/>
                      </a:lnTo>
                      <a:lnTo>
                        <a:pt x="429" y="322"/>
                      </a:lnTo>
                      <a:lnTo>
                        <a:pt x="481" y="501"/>
                      </a:lnTo>
                      <a:lnTo>
                        <a:pt x="481" y="501"/>
                      </a:lnTo>
                      <a:lnTo>
                        <a:pt x="482" y="505"/>
                      </a:lnTo>
                      <a:lnTo>
                        <a:pt x="482" y="511"/>
                      </a:lnTo>
                      <a:lnTo>
                        <a:pt x="482" y="515"/>
                      </a:lnTo>
                      <a:lnTo>
                        <a:pt x="481" y="519"/>
                      </a:lnTo>
                      <a:lnTo>
                        <a:pt x="479" y="523"/>
                      </a:lnTo>
                      <a:lnTo>
                        <a:pt x="477" y="526"/>
                      </a:lnTo>
                      <a:lnTo>
                        <a:pt x="474" y="530"/>
                      </a:lnTo>
                      <a:lnTo>
                        <a:pt x="471" y="532"/>
                      </a:lnTo>
                      <a:lnTo>
                        <a:pt x="471" y="532"/>
                      </a:lnTo>
                      <a:lnTo>
                        <a:pt x="467" y="535"/>
                      </a:lnTo>
                      <a:lnTo>
                        <a:pt x="463" y="537"/>
                      </a:lnTo>
                      <a:lnTo>
                        <a:pt x="459" y="538"/>
                      </a:lnTo>
                      <a:lnTo>
                        <a:pt x="454" y="538"/>
                      </a:lnTo>
                      <a:lnTo>
                        <a:pt x="454" y="538"/>
                      </a:lnTo>
                      <a:close/>
                      <a:moveTo>
                        <a:pt x="284" y="375"/>
                      </a:moveTo>
                      <a:lnTo>
                        <a:pt x="284" y="375"/>
                      </a:lnTo>
                      <a:lnTo>
                        <a:pt x="291" y="376"/>
                      </a:lnTo>
                      <a:lnTo>
                        <a:pt x="299" y="379"/>
                      </a:lnTo>
                      <a:lnTo>
                        <a:pt x="406" y="446"/>
                      </a:lnTo>
                      <a:lnTo>
                        <a:pt x="370" y="319"/>
                      </a:lnTo>
                      <a:lnTo>
                        <a:pt x="370" y="319"/>
                      </a:lnTo>
                      <a:lnTo>
                        <a:pt x="369" y="315"/>
                      </a:lnTo>
                      <a:lnTo>
                        <a:pt x="369" y="311"/>
                      </a:lnTo>
                      <a:lnTo>
                        <a:pt x="370" y="302"/>
                      </a:lnTo>
                      <a:lnTo>
                        <a:pt x="374" y="295"/>
                      </a:lnTo>
                      <a:lnTo>
                        <a:pt x="376" y="291"/>
                      </a:lnTo>
                      <a:lnTo>
                        <a:pt x="379" y="289"/>
                      </a:lnTo>
                      <a:lnTo>
                        <a:pt x="458" y="226"/>
                      </a:lnTo>
                      <a:lnTo>
                        <a:pt x="369" y="226"/>
                      </a:lnTo>
                      <a:lnTo>
                        <a:pt x="369" y="226"/>
                      </a:lnTo>
                      <a:lnTo>
                        <a:pt x="361" y="225"/>
                      </a:lnTo>
                      <a:lnTo>
                        <a:pt x="354" y="222"/>
                      </a:lnTo>
                      <a:lnTo>
                        <a:pt x="348" y="217"/>
                      </a:lnTo>
                      <a:lnTo>
                        <a:pt x="344" y="211"/>
                      </a:lnTo>
                      <a:lnTo>
                        <a:pt x="284" y="91"/>
                      </a:lnTo>
                      <a:lnTo>
                        <a:pt x="224" y="211"/>
                      </a:lnTo>
                      <a:lnTo>
                        <a:pt x="224" y="211"/>
                      </a:lnTo>
                      <a:lnTo>
                        <a:pt x="219" y="217"/>
                      </a:lnTo>
                      <a:lnTo>
                        <a:pt x="213" y="222"/>
                      </a:lnTo>
                      <a:lnTo>
                        <a:pt x="206" y="225"/>
                      </a:lnTo>
                      <a:lnTo>
                        <a:pt x="199" y="226"/>
                      </a:lnTo>
                      <a:lnTo>
                        <a:pt x="109" y="226"/>
                      </a:lnTo>
                      <a:lnTo>
                        <a:pt x="188" y="289"/>
                      </a:lnTo>
                      <a:lnTo>
                        <a:pt x="188" y="289"/>
                      </a:lnTo>
                      <a:lnTo>
                        <a:pt x="191" y="291"/>
                      </a:lnTo>
                      <a:lnTo>
                        <a:pt x="194" y="295"/>
                      </a:lnTo>
                      <a:lnTo>
                        <a:pt x="197" y="302"/>
                      </a:lnTo>
                      <a:lnTo>
                        <a:pt x="199" y="311"/>
                      </a:lnTo>
                      <a:lnTo>
                        <a:pt x="198" y="315"/>
                      </a:lnTo>
                      <a:lnTo>
                        <a:pt x="197" y="319"/>
                      </a:lnTo>
                      <a:lnTo>
                        <a:pt x="161" y="446"/>
                      </a:lnTo>
                      <a:lnTo>
                        <a:pt x="269" y="379"/>
                      </a:lnTo>
                      <a:lnTo>
                        <a:pt x="269" y="379"/>
                      </a:lnTo>
                      <a:lnTo>
                        <a:pt x="276" y="376"/>
                      </a:lnTo>
                      <a:lnTo>
                        <a:pt x="284" y="375"/>
                      </a:lnTo>
                      <a:lnTo>
                        <a:pt x="284" y="37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>
                    <a:defRPr/>
                  </a:pPr>
                  <a:endParaRPr lang="en-US" sz="700" ker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10CE5F97-1919-5DBA-438A-2005D787801C}"/>
                  </a:ext>
                </a:extLst>
              </p:cNvPr>
              <p:cNvSpPr txBox="1"/>
              <p:nvPr/>
            </p:nvSpPr>
            <p:spPr>
              <a:xfrm>
                <a:off x="12002259" y="6941968"/>
                <a:ext cx="7562035" cy="2137148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pPr algn="ctr" rtl="1">
                  <a:lnSpc>
                    <a:spcPct val="150000"/>
                  </a:lnSpc>
                  <a:defRPr/>
                </a:pPr>
                <a:r>
                  <a:rPr lang="en-US" sz="1400" dirty="0">
                    <a:solidFill>
                      <a:srgbClr val="13425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erifying the validity and alignment of </a:t>
                </a:r>
                <a:r>
                  <a:rPr lang="en-US" sz="1400" b="1" dirty="0">
                    <a:solidFill>
                      <a:srgbClr val="13425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qualifications and experience </a:t>
                </a:r>
                <a:r>
                  <a:rPr lang="en-US" sz="1400" dirty="0">
                    <a:solidFill>
                      <a:srgbClr val="13425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 the expatriate worker with the </a:t>
                </a:r>
                <a:r>
                  <a:rPr lang="en-US" sz="1400" b="1" dirty="0">
                    <a:solidFill>
                      <a:srgbClr val="13425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fessional requirements </a:t>
                </a:r>
                <a:r>
                  <a:rPr lang="en-US" sz="1400" dirty="0">
                    <a:solidFill>
                      <a:srgbClr val="13425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f the Saudi labor market.</a:t>
                </a:r>
                <a:r>
                  <a:rPr lang="en-US" sz="1200" dirty="0">
                    <a:solidFill>
                      <a:srgbClr val="13425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
</a:t>
                </a:r>
                <a:endParaRPr lang="en-US" sz="9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2" name="Graphic 81" descr="Programmer male outline">
                <a:extLst>
                  <a:ext uri="{FF2B5EF4-FFF2-40B4-BE49-F238E27FC236}">
                    <a16:creationId xmlns:a16="http://schemas.microsoft.com/office/drawing/2014/main" id="{078C23C7-E640-31EF-FBE7-6FB8469492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3014459" y="9552933"/>
                <a:ext cx="914400" cy="914399"/>
              </a:xfrm>
              <a:prstGeom prst="rect">
                <a:avLst/>
              </a:prstGeom>
            </p:spPr>
          </p:pic>
        </p:grp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BA18E07C-EC5E-0CA4-99FB-708B1749E249}"/>
                </a:ext>
              </a:extLst>
            </p:cNvPr>
            <p:cNvSpPr/>
            <p:nvPr/>
          </p:nvSpPr>
          <p:spPr>
            <a:xfrm>
              <a:off x="7569833" y="2756615"/>
              <a:ext cx="1809669" cy="140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6918398-8D2A-316B-8AB8-0CAC1159563D}"/>
                </a:ext>
              </a:extLst>
            </p:cNvPr>
            <p:cNvSpPr txBox="1"/>
            <p:nvPr/>
          </p:nvSpPr>
          <p:spPr>
            <a:xfrm>
              <a:off x="7237119" y="2393310"/>
              <a:ext cx="2616393" cy="7266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alification Verification Program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5D7D15D-4F2F-3B01-002C-7350B1D34F58}"/>
              </a:ext>
            </a:extLst>
          </p:cNvPr>
          <p:cNvGrpSpPr/>
          <p:nvPr/>
        </p:nvGrpSpPr>
        <p:grpSpPr>
          <a:xfrm>
            <a:off x="6506800" y="1986335"/>
            <a:ext cx="3927456" cy="3551373"/>
            <a:chOff x="6561664" y="2260655"/>
            <a:chExt cx="3927456" cy="3551373"/>
          </a:xfrm>
        </p:grpSpPr>
        <p:sp>
          <p:nvSpPr>
            <p:cNvPr id="44" name="Rectangle: Top Corners Rounded 43">
              <a:extLst>
                <a:ext uri="{FF2B5EF4-FFF2-40B4-BE49-F238E27FC236}">
                  <a16:creationId xmlns:a16="http://schemas.microsoft.com/office/drawing/2014/main" id="{FD14AE8C-B59C-A289-7CD2-B85F6CB789E0}"/>
                </a:ext>
              </a:extLst>
            </p:cNvPr>
            <p:cNvSpPr/>
            <p:nvPr/>
          </p:nvSpPr>
          <p:spPr>
            <a:xfrm rot="16200000" flipH="1">
              <a:off x="6296593" y="2646989"/>
              <a:ext cx="782449" cy="246901"/>
            </a:xfrm>
            <a:prstGeom prst="round2SameRect">
              <a:avLst>
                <a:gd name="adj1" fmla="val 15343"/>
                <a:gd name="adj2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rtl="1">
                <a:defRPr/>
              </a:pPr>
              <a:endPara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ectangle: Top Corners Rounded 44">
              <a:extLst>
                <a:ext uri="{FF2B5EF4-FFF2-40B4-BE49-F238E27FC236}">
                  <a16:creationId xmlns:a16="http://schemas.microsoft.com/office/drawing/2014/main" id="{B698DB01-F6D8-2C86-C70F-DBDECA2CD727}"/>
                </a:ext>
              </a:extLst>
            </p:cNvPr>
            <p:cNvSpPr/>
            <p:nvPr/>
          </p:nvSpPr>
          <p:spPr>
            <a:xfrm flipH="1">
              <a:off x="6708102" y="2521824"/>
              <a:ext cx="3669057" cy="3283209"/>
            </a:xfrm>
            <a:prstGeom prst="round2SameRect">
              <a:avLst>
                <a:gd name="adj1" fmla="val 7051"/>
                <a:gd name="adj2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127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rtl="1">
                <a:defRPr/>
              </a:pPr>
              <a:endPara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Arrow: Pentagon 45">
              <a:extLst>
                <a:ext uri="{FF2B5EF4-FFF2-40B4-BE49-F238E27FC236}">
                  <a16:creationId xmlns:a16="http://schemas.microsoft.com/office/drawing/2014/main" id="{ABB3154B-1256-F1B5-6583-35DF436CB4FA}"/>
                </a:ext>
              </a:extLst>
            </p:cNvPr>
            <p:cNvSpPr/>
            <p:nvPr/>
          </p:nvSpPr>
          <p:spPr>
            <a:xfrm rot="5400000">
              <a:off x="8006472" y="949579"/>
              <a:ext cx="1068576" cy="3690728"/>
            </a:xfrm>
            <a:prstGeom prst="homePlate">
              <a:avLst>
                <a:gd name="adj" fmla="val 21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>
                <a:defRPr/>
              </a:pPr>
              <a:endParaRPr lang="en-US" sz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: Top Corners Rounded 46">
              <a:extLst>
                <a:ext uri="{FF2B5EF4-FFF2-40B4-BE49-F238E27FC236}">
                  <a16:creationId xmlns:a16="http://schemas.microsoft.com/office/drawing/2014/main" id="{57082B13-0474-815F-EDC1-D4351A4DBCFB}"/>
                </a:ext>
              </a:extLst>
            </p:cNvPr>
            <p:cNvSpPr/>
            <p:nvPr/>
          </p:nvSpPr>
          <p:spPr>
            <a:xfrm rot="5400000" flipH="1">
              <a:off x="6641855" y="2299020"/>
              <a:ext cx="658101" cy="818484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rtl="1">
                <a:defRPr/>
              </a:pPr>
              <a:endPara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89D3B4B-5934-43E8-BA98-EE43AD50A5F8}"/>
                </a:ext>
              </a:extLst>
            </p:cNvPr>
            <p:cNvSpPr/>
            <p:nvPr/>
          </p:nvSpPr>
          <p:spPr>
            <a:xfrm flipH="1">
              <a:off x="6851079" y="5789168"/>
              <a:ext cx="3295729" cy="2286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rtl="1">
                <a:defRPr/>
              </a:pPr>
              <a:endPara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9D52D8C-E681-48E5-E54A-43FB626E46F1}"/>
                </a:ext>
              </a:extLst>
            </p:cNvPr>
            <p:cNvSpPr txBox="1"/>
            <p:nvPr/>
          </p:nvSpPr>
          <p:spPr>
            <a:xfrm>
              <a:off x="6708102" y="3816402"/>
              <a:ext cx="3781018" cy="1068574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 rtl="1">
                <a:lnSpc>
                  <a:spcPct val="150000"/>
                </a:lnSpc>
                <a:defRPr/>
              </a:pPr>
              <a:r>
                <a:rPr lang="en-US" sz="14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sure that the expatriate professional worker have the </a:t>
              </a:r>
              <a:r>
                <a:rPr lang="en-US" sz="1400" b="1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cessary skills </a:t>
              </a:r>
              <a:r>
                <a:rPr lang="en-US" sz="14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performing a </a:t>
              </a:r>
              <a:r>
                <a:rPr lang="en-US" sz="1400" b="1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actical and theoretical tests </a:t>
              </a:r>
              <a:r>
                <a:rPr lang="en-US" sz="14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their field of specialization. 
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5A07FCD-427B-FA9A-BB2B-06BCFAC45D6F}"/>
                </a:ext>
              </a:extLst>
            </p:cNvPr>
            <p:cNvSpPr txBox="1"/>
            <p:nvPr/>
          </p:nvSpPr>
          <p:spPr>
            <a:xfrm>
              <a:off x="7227736" y="5192224"/>
              <a:ext cx="2994411" cy="3351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 rtl="1">
                <a:lnSpc>
                  <a:spcPct val="150000"/>
                </a:lnSpc>
                <a:defRPr/>
              </a:pPr>
              <a:r>
                <a:rPr lang="en-US" sz="1200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ample</a:t>
              </a:r>
              <a:r>
                <a:rPr lang="en-US" sz="1200" b="1" dirty="0">
                  <a:solidFill>
                    <a:srgbClr val="13425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Electrician</a:t>
              </a:r>
              <a:endPara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76D2F7B-E8E8-8388-7BD4-D94679657828}"/>
                </a:ext>
              </a:extLst>
            </p:cNvPr>
            <p:cNvSpPr/>
            <p:nvPr/>
          </p:nvSpPr>
          <p:spPr>
            <a:xfrm>
              <a:off x="7733735" y="2756615"/>
              <a:ext cx="1809669" cy="140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algn="ctr" defTabSz="914400" eaLnBrk="1" latinLnBrk="0" hangingPunct="1"/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A91A99E-5DFD-107E-47BA-58755C3832D1}"/>
                </a:ext>
              </a:extLst>
            </p:cNvPr>
            <p:cNvSpPr txBox="1"/>
            <p:nvPr/>
          </p:nvSpPr>
          <p:spPr>
            <a:xfrm>
              <a:off x="7475307" y="2405511"/>
              <a:ext cx="2456523" cy="7266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ills Verification Program</a:t>
              </a: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48276A09-A677-B643-5707-307F7E6A7046}"/>
                </a:ext>
              </a:extLst>
            </p:cNvPr>
            <p:cNvSpPr/>
            <p:nvPr/>
          </p:nvSpPr>
          <p:spPr>
            <a:xfrm flipH="1">
              <a:off x="6677006" y="2461434"/>
              <a:ext cx="550730" cy="510920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rtl="1">
                <a:defRPr/>
              </a:pPr>
              <a:endParaRPr lang="en-US" sz="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11AE3A32-69CC-6B13-E6E2-90A8A014D8C6}"/>
                </a:ext>
              </a:extLst>
            </p:cNvPr>
            <p:cNvGrpSpPr/>
            <p:nvPr/>
          </p:nvGrpSpPr>
          <p:grpSpPr>
            <a:xfrm>
              <a:off x="6809077" y="2541979"/>
              <a:ext cx="269494" cy="267120"/>
              <a:chOff x="2676525" y="2889250"/>
              <a:chExt cx="360363" cy="357188"/>
            </a:xfrm>
            <a:solidFill>
              <a:srgbClr val="FFFFFF"/>
            </a:solidFill>
          </p:grpSpPr>
          <p:sp>
            <p:nvSpPr>
              <p:cNvPr id="90" name="Freeform 44">
                <a:extLst>
                  <a:ext uri="{FF2B5EF4-FFF2-40B4-BE49-F238E27FC236}">
                    <a16:creationId xmlns:a16="http://schemas.microsoft.com/office/drawing/2014/main" id="{15A7EF38-0C61-949E-6B68-E105E3FBBC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84463" y="3089275"/>
                <a:ext cx="152400" cy="152400"/>
              </a:xfrm>
              <a:custGeom>
                <a:avLst/>
                <a:gdLst>
                  <a:gd name="T0" fmla="*/ 133 w 670"/>
                  <a:gd name="T1" fmla="*/ 669 h 669"/>
                  <a:gd name="T2" fmla="*/ 133 w 670"/>
                  <a:gd name="T3" fmla="*/ 669 h 669"/>
                  <a:gd name="T4" fmla="*/ 106 w 670"/>
                  <a:gd name="T5" fmla="*/ 667 h 669"/>
                  <a:gd name="T6" fmla="*/ 82 w 670"/>
                  <a:gd name="T7" fmla="*/ 659 h 669"/>
                  <a:gd name="T8" fmla="*/ 59 w 670"/>
                  <a:gd name="T9" fmla="*/ 648 h 669"/>
                  <a:gd name="T10" fmla="*/ 38 w 670"/>
                  <a:gd name="T11" fmla="*/ 630 h 669"/>
                  <a:gd name="T12" fmla="*/ 30 w 670"/>
                  <a:gd name="T13" fmla="*/ 621 h 669"/>
                  <a:gd name="T14" fmla="*/ 16 w 670"/>
                  <a:gd name="T15" fmla="*/ 599 h 669"/>
                  <a:gd name="T16" fmla="*/ 5 w 670"/>
                  <a:gd name="T17" fmla="*/ 575 h 669"/>
                  <a:gd name="T18" fmla="*/ 1 w 670"/>
                  <a:gd name="T19" fmla="*/ 550 h 669"/>
                  <a:gd name="T20" fmla="*/ 0 w 670"/>
                  <a:gd name="T21" fmla="*/ 537 h 669"/>
                  <a:gd name="T22" fmla="*/ 2 w 670"/>
                  <a:gd name="T23" fmla="*/ 511 h 669"/>
                  <a:gd name="T24" fmla="*/ 11 w 670"/>
                  <a:gd name="T25" fmla="*/ 486 h 669"/>
                  <a:gd name="T26" fmla="*/ 22 w 670"/>
                  <a:gd name="T27" fmla="*/ 463 h 669"/>
                  <a:gd name="T28" fmla="*/ 38 w 670"/>
                  <a:gd name="T29" fmla="*/ 444 h 669"/>
                  <a:gd name="T30" fmla="*/ 473 w 670"/>
                  <a:gd name="T31" fmla="*/ 9 h 669"/>
                  <a:gd name="T32" fmla="*/ 485 w 670"/>
                  <a:gd name="T33" fmla="*/ 2 h 669"/>
                  <a:gd name="T34" fmla="*/ 497 w 670"/>
                  <a:gd name="T35" fmla="*/ 0 h 669"/>
                  <a:gd name="T36" fmla="*/ 509 w 670"/>
                  <a:gd name="T37" fmla="*/ 2 h 669"/>
                  <a:gd name="T38" fmla="*/ 520 w 670"/>
                  <a:gd name="T39" fmla="*/ 9 h 669"/>
                  <a:gd name="T40" fmla="*/ 660 w 670"/>
                  <a:gd name="T41" fmla="*/ 149 h 669"/>
                  <a:gd name="T42" fmla="*/ 668 w 670"/>
                  <a:gd name="T43" fmla="*/ 160 h 669"/>
                  <a:gd name="T44" fmla="*/ 670 w 670"/>
                  <a:gd name="T45" fmla="*/ 173 h 669"/>
                  <a:gd name="T46" fmla="*/ 668 w 670"/>
                  <a:gd name="T47" fmla="*/ 185 h 669"/>
                  <a:gd name="T48" fmla="*/ 660 w 670"/>
                  <a:gd name="T49" fmla="*/ 197 h 669"/>
                  <a:gd name="T50" fmla="*/ 226 w 670"/>
                  <a:gd name="T51" fmla="*/ 630 h 669"/>
                  <a:gd name="T52" fmla="*/ 206 w 670"/>
                  <a:gd name="T53" fmla="*/ 648 h 669"/>
                  <a:gd name="T54" fmla="*/ 183 w 670"/>
                  <a:gd name="T55" fmla="*/ 659 h 669"/>
                  <a:gd name="T56" fmla="*/ 159 w 670"/>
                  <a:gd name="T57" fmla="*/ 667 h 669"/>
                  <a:gd name="T58" fmla="*/ 133 w 670"/>
                  <a:gd name="T59" fmla="*/ 669 h 669"/>
                  <a:gd name="T60" fmla="*/ 497 w 670"/>
                  <a:gd name="T61" fmla="*/ 80 h 669"/>
                  <a:gd name="T62" fmla="*/ 86 w 670"/>
                  <a:gd name="T63" fmla="*/ 490 h 669"/>
                  <a:gd name="T64" fmla="*/ 78 w 670"/>
                  <a:gd name="T65" fmla="*/ 501 h 669"/>
                  <a:gd name="T66" fmla="*/ 72 w 670"/>
                  <a:gd name="T67" fmla="*/ 512 h 669"/>
                  <a:gd name="T68" fmla="*/ 67 w 670"/>
                  <a:gd name="T69" fmla="*/ 524 h 669"/>
                  <a:gd name="T70" fmla="*/ 66 w 670"/>
                  <a:gd name="T71" fmla="*/ 537 h 669"/>
                  <a:gd name="T72" fmla="*/ 66 w 670"/>
                  <a:gd name="T73" fmla="*/ 544 h 669"/>
                  <a:gd name="T74" fmla="*/ 70 w 670"/>
                  <a:gd name="T75" fmla="*/ 557 h 669"/>
                  <a:gd name="T76" fmla="*/ 74 w 670"/>
                  <a:gd name="T77" fmla="*/ 568 h 669"/>
                  <a:gd name="T78" fmla="*/ 81 w 670"/>
                  <a:gd name="T79" fmla="*/ 579 h 669"/>
                  <a:gd name="T80" fmla="*/ 85 w 670"/>
                  <a:gd name="T81" fmla="*/ 583 h 669"/>
                  <a:gd name="T82" fmla="*/ 95 w 670"/>
                  <a:gd name="T83" fmla="*/ 592 h 669"/>
                  <a:gd name="T84" fmla="*/ 107 w 670"/>
                  <a:gd name="T85" fmla="*/ 598 h 669"/>
                  <a:gd name="T86" fmla="*/ 119 w 670"/>
                  <a:gd name="T87" fmla="*/ 602 h 669"/>
                  <a:gd name="T88" fmla="*/ 133 w 670"/>
                  <a:gd name="T89" fmla="*/ 603 h 669"/>
                  <a:gd name="T90" fmla="*/ 133 w 670"/>
                  <a:gd name="T91" fmla="*/ 603 h 669"/>
                  <a:gd name="T92" fmla="*/ 139 w 670"/>
                  <a:gd name="T93" fmla="*/ 603 h 669"/>
                  <a:gd name="T94" fmla="*/ 151 w 670"/>
                  <a:gd name="T95" fmla="*/ 600 h 669"/>
                  <a:gd name="T96" fmla="*/ 164 w 670"/>
                  <a:gd name="T97" fmla="*/ 596 h 669"/>
                  <a:gd name="T98" fmla="*/ 174 w 670"/>
                  <a:gd name="T99" fmla="*/ 589 h 669"/>
                  <a:gd name="T100" fmla="*/ 179 w 670"/>
                  <a:gd name="T101" fmla="*/ 583 h 669"/>
                  <a:gd name="T102" fmla="*/ 590 w 670"/>
                  <a:gd name="T103" fmla="*/ 173 h 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70" h="669">
                    <a:moveTo>
                      <a:pt x="133" y="669"/>
                    </a:moveTo>
                    <a:lnTo>
                      <a:pt x="133" y="669"/>
                    </a:lnTo>
                    <a:lnTo>
                      <a:pt x="133" y="669"/>
                    </a:lnTo>
                    <a:lnTo>
                      <a:pt x="133" y="669"/>
                    </a:lnTo>
                    <a:lnTo>
                      <a:pt x="119" y="668"/>
                    </a:lnTo>
                    <a:lnTo>
                      <a:pt x="106" y="667"/>
                    </a:lnTo>
                    <a:lnTo>
                      <a:pt x="93" y="663"/>
                    </a:lnTo>
                    <a:lnTo>
                      <a:pt x="82" y="659"/>
                    </a:lnTo>
                    <a:lnTo>
                      <a:pt x="70" y="654"/>
                    </a:lnTo>
                    <a:lnTo>
                      <a:pt x="59" y="648"/>
                    </a:lnTo>
                    <a:lnTo>
                      <a:pt x="49" y="639"/>
                    </a:lnTo>
                    <a:lnTo>
                      <a:pt x="38" y="630"/>
                    </a:lnTo>
                    <a:lnTo>
                      <a:pt x="38" y="630"/>
                    </a:lnTo>
                    <a:lnTo>
                      <a:pt x="30" y="621"/>
                    </a:lnTo>
                    <a:lnTo>
                      <a:pt x="22" y="610"/>
                    </a:lnTo>
                    <a:lnTo>
                      <a:pt x="16" y="599"/>
                    </a:lnTo>
                    <a:lnTo>
                      <a:pt x="11" y="588"/>
                    </a:lnTo>
                    <a:lnTo>
                      <a:pt x="5" y="575"/>
                    </a:lnTo>
                    <a:lnTo>
                      <a:pt x="2" y="563"/>
                    </a:lnTo>
                    <a:lnTo>
                      <a:pt x="1" y="550"/>
                    </a:lnTo>
                    <a:lnTo>
                      <a:pt x="0" y="537"/>
                    </a:lnTo>
                    <a:lnTo>
                      <a:pt x="0" y="537"/>
                    </a:lnTo>
                    <a:lnTo>
                      <a:pt x="1" y="524"/>
                    </a:lnTo>
                    <a:lnTo>
                      <a:pt x="2" y="511"/>
                    </a:lnTo>
                    <a:lnTo>
                      <a:pt x="5" y="499"/>
                    </a:lnTo>
                    <a:lnTo>
                      <a:pt x="11" y="486"/>
                    </a:lnTo>
                    <a:lnTo>
                      <a:pt x="16" y="475"/>
                    </a:lnTo>
                    <a:lnTo>
                      <a:pt x="22" y="463"/>
                    </a:lnTo>
                    <a:lnTo>
                      <a:pt x="30" y="453"/>
                    </a:lnTo>
                    <a:lnTo>
                      <a:pt x="38" y="444"/>
                    </a:lnTo>
                    <a:lnTo>
                      <a:pt x="473" y="9"/>
                    </a:lnTo>
                    <a:lnTo>
                      <a:pt x="473" y="9"/>
                    </a:lnTo>
                    <a:lnTo>
                      <a:pt x="478" y="5"/>
                    </a:lnTo>
                    <a:lnTo>
                      <a:pt x="485" y="2"/>
                    </a:lnTo>
                    <a:lnTo>
                      <a:pt x="491" y="0"/>
                    </a:lnTo>
                    <a:lnTo>
                      <a:pt x="497" y="0"/>
                    </a:lnTo>
                    <a:lnTo>
                      <a:pt x="503" y="0"/>
                    </a:lnTo>
                    <a:lnTo>
                      <a:pt x="509" y="2"/>
                    </a:lnTo>
                    <a:lnTo>
                      <a:pt x="515" y="5"/>
                    </a:lnTo>
                    <a:lnTo>
                      <a:pt x="520" y="9"/>
                    </a:lnTo>
                    <a:lnTo>
                      <a:pt x="660" y="149"/>
                    </a:lnTo>
                    <a:lnTo>
                      <a:pt x="660" y="149"/>
                    </a:lnTo>
                    <a:lnTo>
                      <a:pt x="665" y="154"/>
                    </a:lnTo>
                    <a:lnTo>
                      <a:pt x="668" y="160"/>
                    </a:lnTo>
                    <a:lnTo>
                      <a:pt x="670" y="167"/>
                    </a:lnTo>
                    <a:lnTo>
                      <a:pt x="670" y="173"/>
                    </a:lnTo>
                    <a:lnTo>
                      <a:pt x="670" y="179"/>
                    </a:lnTo>
                    <a:lnTo>
                      <a:pt x="668" y="185"/>
                    </a:lnTo>
                    <a:lnTo>
                      <a:pt x="665" y="191"/>
                    </a:lnTo>
                    <a:lnTo>
                      <a:pt x="660" y="197"/>
                    </a:lnTo>
                    <a:lnTo>
                      <a:pt x="226" y="630"/>
                    </a:lnTo>
                    <a:lnTo>
                      <a:pt x="226" y="630"/>
                    </a:lnTo>
                    <a:lnTo>
                      <a:pt x="216" y="639"/>
                    </a:lnTo>
                    <a:lnTo>
                      <a:pt x="206" y="648"/>
                    </a:lnTo>
                    <a:lnTo>
                      <a:pt x="195" y="654"/>
                    </a:lnTo>
                    <a:lnTo>
                      <a:pt x="183" y="659"/>
                    </a:lnTo>
                    <a:lnTo>
                      <a:pt x="171" y="664"/>
                    </a:lnTo>
                    <a:lnTo>
                      <a:pt x="159" y="667"/>
                    </a:lnTo>
                    <a:lnTo>
                      <a:pt x="145" y="668"/>
                    </a:lnTo>
                    <a:lnTo>
                      <a:pt x="133" y="669"/>
                    </a:lnTo>
                    <a:lnTo>
                      <a:pt x="133" y="669"/>
                    </a:lnTo>
                    <a:close/>
                    <a:moveTo>
                      <a:pt x="497" y="80"/>
                    </a:moveTo>
                    <a:lnTo>
                      <a:pt x="86" y="490"/>
                    </a:lnTo>
                    <a:lnTo>
                      <a:pt x="86" y="490"/>
                    </a:lnTo>
                    <a:lnTo>
                      <a:pt x="81" y="496"/>
                    </a:lnTo>
                    <a:lnTo>
                      <a:pt x="78" y="501"/>
                    </a:lnTo>
                    <a:lnTo>
                      <a:pt x="74" y="506"/>
                    </a:lnTo>
                    <a:lnTo>
                      <a:pt x="72" y="512"/>
                    </a:lnTo>
                    <a:lnTo>
                      <a:pt x="70" y="518"/>
                    </a:lnTo>
                    <a:lnTo>
                      <a:pt x="67" y="524"/>
                    </a:lnTo>
                    <a:lnTo>
                      <a:pt x="66" y="531"/>
                    </a:lnTo>
                    <a:lnTo>
                      <a:pt x="66" y="537"/>
                    </a:lnTo>
                    <a:lnTo>
                      <a:pt x="66" y="537"/>
                    </a:lnTo>
                    <a:lnTo>
                      <a:pt x="66" y="544"/>
                    </a:lnTo>
                    <a:lnTo>
                      <a:pt x="67" y="550"/>
                    </a:lnTo>
                    <a:lnTo>
                      <a:pt x="70" y="557"/>
                    </a:lnTo>
                    <a:lnTo>
                      <a:pt x="72" y="563"/>
                    </a:lnTo>
                    <a:lnTo>
                      <a:pt x="74" y="568"/>
                    </a:lnTo>
                    <a:lnTo>
                      <a:pt x="77" y="574"/>
                    </a:lnTo>
                    <a:lnTo>
                      <a:pt x="81" y="579"/>
                    </a:lnTo>
                    <a:lnTo>
                      <a:pt x="85" y="583"/>
                    </a:lnTo>
                    <a:lnTo>
                      <a:pt x="85" y="583"/>
                    </a:lnTo>
                    <a:lnTo>
                      <a:pt x="90" y="589"/>
                    </a:lnTo>
                    <a:lnTo>
                      <a:pt x="95" y="592"/>
                    </a:lnTo>
                    <a:lnTo>
                      <a:pt x="102" y="596"/>
                    </a:lnTo>
                    <a:lnTo>
                      <a:pt x="107" y="598"/>
                    </a:lnTo>
                    <a:lnTo>
                      <a:pt x="113" y="600"/>
                    </a:lnTo>
                    <a:lnTo>
                      <a:pt x="119" y="602"/>
                    </a:lnTo>
                    <a:lnTo>
                      <a:pt x="125" y="603"/>
                    </a:lnTo>
                    <a:lnTo>
                      <a:pt x="133" y="603"/>
                    </a:lnTo>
                    <a:lnTo>
                      <a:pt x="133" y="603"/>
                    </a:lnTo>
                    <a:lnTo>
                      <a:pt x="133" y="603"/>
                    </a:lnTo>
                    <a:lnTo>
                      <a:pt x="133" y="603"/>
                    </a:lnTo>
                    <a:lnTo>
                      <a:pt x="139" y="603"/>
                    </a:lnTo>
                    <a:lnTo>
                      <a:pt x="145" y="602"/>
                    </a:lnTo>
                    <a:lnTo>
                      <a:pt x="151" y="600"/>
                    </a:lnTo>
                    <a:lnTo>
                      <a:pt x="157" y="598"/>
                    </a:lnTo>
                    <a:lnTo>
                      <a:pt x="164" y="596"/>
                    </a:lnTo>
                    <a:lnTo>
                      <a:pt x="169" y="592"/>
                    </a:lnTo>
                    <a:lnTo>
                      <a:pt x="174" y="589"/>
                    </a:lnTo>
                    <a:lnTo>
                      <a:pt x="179" y="583"/>
                    </a:lnTo>
                    <a:lnTo>
                      <a:pt x="179" y="583"/>
                    </a:lnTo>
                    <a:lnTo>
                      <a:pt x="179" y="583"/>
                    </a:lnTo>
                    <a:lnTo>
                      <a:pt x="590" y="173"/>
                    </a:lnTo>
                    <a:lnTo>
                      <a:pt x="497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US" sz="7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45">
                <a:extLst>
                  <a:ext uri="{FF2B5EF4-FFF2-40B4-BE49-F238E27FC236}">
                    <a16:creationId xmlns:a16="http://schemas.microsoft.com/office/drawing/2014/main" id="{B12B13F7-765F-BCD1-036C-4F50CFD6C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3363" y="3073400"/>
                <a:ext cx="79375" cy="79375"/>
              </a:xfrm>
              <a:custGeom>
                <a:avLst/>
                <a:gdLst>
                  <a:gd name="T0" fmla="*/ 314 w 347"/>
                  <a:gd name="T1" fmla="*/ 346 h 346"/>
                  <a:gd name="T2" fmla="*/ 314 w 347"/>
                  <a:gd name="T3" fmla="*/ 346 h 346"/>
                  <a:gd name="T4" fmla="*/ 308 w 347"/>
                  <a:gd name="T5" fmla="*/ 345 h 346"/>
                  <a:gd name="T6" fmla="*/ 302 w 347"/>
                  <a:gd name="T7" fmla="*/ 343 h 346"/>
                  <a:gd name="T8" fmla="*/ 296 w 347"/>
                  <a:gd name="T9" fmla="*/ 340 h 346"/>
                  <a:gd name="T10" fmla="*/ 290 w 347"/>
                  <a:gd name="T11" fmla="*/ 336 h 346"/>
                  <a:gd name="T12" fmla="*/ 11 w 347"/>
                  <a:gd name="T13" fmla="*/ 56 h 346"/>
                  <a:gd name="T14" fmla="*/ 11 w 347"/>
                  <a:gd name="T15" fmla="*/ 56 h 346"/>
                  <a:gd name="T16" fmla="*/ 6 w 347"/>
                  <a:gd name="T17" fmla="*/ 51 h 346"/>
                  <a:gd name="T18" fmla="*/ 4 w 347"/>
                  <a:gd name="T19" fmla="*/ 45 h 346"/>
                  <a:gd name="T20" fmla="*/ 1 w 347"/>
                  <a:gd name="T21" fmla="*/ 39 h 346"/>
                  <a:gd name="T22" fmla="*/ 0 w 347"/>
                  <a:gd name="T23" fmla="*/ 33 h 346"/>
                  <a:gd name="T24" fmla="*/ 1 w 347"/>
                  <a:gd name="T25" fmla="*/ 27 h 346"/>
                  <a:gd name="T26" fmla="*/ 4 w 347"/>
                  <a:gd name="T27" fmla="*/ 21 h 346"/>
                  <a:gd name="T28" fmla="*/ 6 w 347"/>
                  <a:gd name="T29" fmla="*/ 14 h 346"/>
                  <a:gd name="T30" fmla="*/ 11 w 347"/>
                  <a:gd name="T31" fmla="*/ 9 h 346"/>
                  <a:gd name="T32" fmla="*/ 11 w 347"/>
                  <a:gd name="T33" fmla="*/ 9 h 346"/>
                  <a:gd name="T34" fmla="*/ 16 w 347"/>
                  <a:gd name="T35" fmla="*/ 5 h 346"/>
                  <a:gd name="T36" fmla="*/ 21 w 347"/>
                  <a:gd name="T37" fmla="*/ 2 h 346"/>
                  <a:gd name="T38" fmla="*/ 27 w 347"/>
                  <a:gd name="T39" fmla="*/ 0 h 346"/>
                  <a:gd name="T40" fmla="*/ 34 w 347"/>
                  <a:gd name="T41" fmla="*/ 0 h 346"/>
                  <a:gd name="T42" fmla="*/ 40 w 347"/>
                  <a:gd name="T43" fmla="*/ 0 h 346"/>
                  <a:gd name="T44" fmla="*/ 46 w 347"/>
                  <a:gd name="T45" fmla="*/ 2 h 346"/>
                  <a:gd name="T46" fmla="*/ 52 w 347"/>
                  <a:gd name="T47" fmla="*/ 5 h 346"/>
                  <a:gd name="T48" fmla="*/ 57 w 347"/>
                  <a:gd name="T49" fmla="*/ 9 h 346"/>
                  <a:gd name="T50" fmla="*/ 338 w 347"/>
                  <a:gd name="T51" fmla="*/ 289 h 346"/>
                  <a:gd name="T52" fmla="*/ 338 w 347"/>
                  <a:gd name="T53" fmla="*/ 289 h 346"/>
                  <a:gd name="T54" fmla="*/ 342 w 347"/>
                  <a:gd name="T55" fmla="*/ 295 h 346"/>
                  <a:gd name="T56" fmla="*/ 345 w 347"/>
                  <a:gd name="T57" fmla="*/ 301 h 346"/>
                  <a:gd name="T58" fmla="*/ 346 w 347"/>
                  <a:gd name="T59" fmla="*/ 307 h 346"/>
                  <a:gd name="T60" fmla="*/ 347 w 347"/>
                  <a:gd name="T61" fmla="*/ 313 h 346"/>
                  <a:gd name="T62" fmla="*/ 346 w 347"/>
                  <a:gd name="T63" fmla="*/ 319 h 346"/>
                  <a:gd name="T64" fmla="*/ 345 w 347"/>
                  <a:gd name="T65" fmla="*/ 326 h 346"/>
                  <a:gd name="T66" fmla="*/ 342 w 347"/>
                  <a:gd name="T67" fmla="*/ 331 h 346"/>
                  <a:gd name="T68" fmla="*/ 338 w 347"/>
                  <a:gd name="T69" fmla="*/ 336 h 346"/>
                  <a:gd name="T70" fmla="*/ 338 w 347"/>
                  <a:gd name="T71" fmla="*/ 336 h 346"/>
                  <a:gd name="T72" fmla="*/ 333 w 347"/>
                  <a:gd name="T73" fmla="*/ 340 h 346"/>
                  <a:gd name="T74" fmla="*/ 326 w 347"/>
                  <a:gd name="T75" fmla="*/ 343 h 346"/>
                  <a:gd name="T76" fmla="*/ 320 w 347"/>
                  <a:gd name="T77" fmla="*/ 345 h 346"/>
                  <a:gd name="T78" fmla="*/ 314 w 347"/>
                  <a:gd name="T79" fmla="*/ 346 h 346"/>
                  <a:gd name="T80" fmla="*/ 314 w 347"/>
                  <a:gd name="T81" fmla="*/ 346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47" h="346">
                    <a:moveTo>
                      <a:pt x="314" y="346"/>
                    </a:moveTo>
                    <a:lnTo>
                      <a:pt x="314" y="346"/>
                    </a:lnTo>
                    <a:lnTo>
                      <a:pt x="308" y="345"/>
                    </a:lnTo>
                    <a:lnTo>
                      <a:pt x="302" y="343"/>
                    </a:lnTo>
                    <a:lnTo>
                      <a:pt x="296" y="340"/>
                    </a:lnTo>
                    <a:lnTo>
                      <a:pt x="290" y="336"/>
                    </a:lnTo>
                    <a:lnTo>
                      <a:pt x="11" y="56"/>
                    </a:lnTo>
                    <a:lnTo>
                      <a:pt x="11" y="56"/>
                    </a:lnTo>
                    <a:lnTo>
                      <a:pt x="6" y="51"/>
                    </a:lnTo>
                    <a:lnTo>
                      <a:pt x="4" y="45"/>
                    </a:lnTo>
                    <a:lnTo>
                      <a:pt x="1" y="39"/>
                    </a:lnTo>
                    <a:lnTo>
                      <a:pt x="0" y="33"/>
                    </a:lnTo>
                    <a:lnTo>
                      <a:pt x="1" y="27"/>
                    </a:lnTo>
                    <a:lnTo>
                      <a:pt x="4" y="21"/>
                    </a:lnTo>
                    <a:lnTo>
                      <a:pt x="6" y="14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6" y="5"/>
                    </a:lnTo>
                    <a:lnTo>
                      <a:pt x="21" y="2"/>
                    </a:lnTo>
                    <a:lnTo>
                      <a:pt x="27" y="0"/>
                    </a:lnTo>
                    <a:lnTo>
                      <a:pt x="34" y="0"/>
                    </a:lnTo>
                    <a:lnTo>
                      <a:pt x="40" y="0"/>
                    </a:lnTo>
                    <a:lnTo>
                      <a:pt x="46" y="2"/>
                    </a:lnTo>
                    <a:lnTo>
                      <a:pt x="52" y="5"/>
                    </a:lnTo>
                    <a:lnTo>
                      <a:pt x="57" y="9"/>
                    </a:lnTo>
                    <a:lnTo>
                      <a:pt x="338" y="289"/>
                    </a:lnTo>
                    <a:lnTo>
                      <a:pt x="338" y="289"/>
                    </a:lnTo>
                    <a:lnTo>
                      <a:pt x="342" y="295"/>
                    </a:lnTo>
                    <a:lnTo>
                      <a:pt x="345" y="301"/>
                    </a:lnTo>
                    <a:lnTo>
                      <a:pt x="346" y="307"/>
                    </a:lnTo>
                    <a:lnTo>
                      <a:pt x="347" y="313"/>
                    </a:lnTo>
                    <a:lnTo>
                      <a:pt x="346" y="319"/>
                    </a:lnTo>
                    <a:lnTo>
                      <a:pt x="345" y="326"/>
                    </a:lnTo>
                    <a:lnTo>
                      <a:pt x="342" y="331"/>
                    </a:lnTo>
                    <a:lnTo>
                      <a:pt x="338" y="336"/>
                    </a:lnTo>
                    <a:lnTo>
                      <a:pt x="338" y="336"/>
                    </a:lnTo>
                    <a:lnTo>
                      <a:pt x="333" y="340"/>
                    </a:lnTo>
                    <a:lnTo>
                      <a:pt x="326" y="343"/>
                    </a:lnTo>
                    <a:lnTo>
                      <a:pt x="320" y="345"/>
                    </a:lnTo>
                    <a:lnTo>
                      <a:pt x="314" y="346"/>
                    </a:lnTo>
                    <a:lnTo>
                      <a:pt x="314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US" sz="7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46">
                <a:extLst>
                  <a:ext uri="{FF2B5EF4-FFF2-40B4-BE49-F238E27FC236}">
                    <a16:creationId xmlns:a16="http://schemas.microsoft.com/office/drawing/2014/main" id="{97A10584-57B7-3343-9570-3A37CDBE0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6700" y="2947988"/>
                <a:ext cx="171450" cy="169863"/>
              </a:xfrm>
              <a:custGeom>
                <a:avLst/>
                <a:gdLst>
                  <a:gd name="T0" fmla="*/ 48 w 755"/>
                  <a:gd name="T1" fmla="*/ 753 h 753"/>
                  <a:gd name="T2" fmla="*/ 0 w 755"/>
                  <a:gd name="T3" fmla="*/ 707 h 753"/>
                  <a:gd name="T4" fmla="*/ 707 w 755"/>
                  <a:gd name="T5" fmla="*/ 0 h 753"/>
                  <a:gd name="T6" fmla="*/ 755 w 755"/>
                  <a:gd name="T7" fmla="*/ 48 h 753"/>
                  <a:gd name="T8" fmla="*/ 48 w 755"/>
                  <a:gd name="T9" fmla="*/ 753 h 7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5" h="753">
                    <a:moveTo>
                      <a:pt x="48" y="753"/>
                    </a:moveTo>
                    <a:lnTo>
                      <a:pt x="0" y="707"/>
                    </a:lnTo>
                    <a:lnTo>
                      <a:pt x="707" y="0"/>
                    </a:lnTo>
                    <a:lnTo>
                      <a:pt x="755" y="48"/>
                    </a:lnTo>
                    <a:lnTo>
                      <a:pt x="48" y="7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US" sz="7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47">
                <a:extLst>
                  <a:ext uri="{FF2B5EF4-FFF2-40B4-BE49-F238E27FC236}">
                    <a16:creationId xmlns:a16="http://schemas.microsoft.com/office/drawing/2014/main" id="{EAD3EF47-AE00-7273-0AF6-1C5F25ABE6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46400" y="2889250"/>
                <a:ext cx="90488" cy="88900"/>
              </a:xfrm>
              <a:custGeom>
                <a:avLst/>
                <a:gdLst>
                  <a:gd name="T0" fmla="*/ 197 w 399"/>
                  <a:gd name="T1" fmla="*/ 392 h 392"/>
                  <a:gd name="T2" fmla="*/ 197 w 399"/>
                  <a:gd name="T3" fmla="*/ 392 h 392"/>
                  <a:gd name="T4" fmla="*/ 189 w 399"/>
                  <a:gd name="T5" fmla="*/ 392 h 392"/>
                  <a:gd name="T6" fmla="*/ 183 w 399"/>
                  <a:gd name="T7" fmla="*/ 390 h 392"/>
                  <a:gd name="T8" fmla="*/ 178 w 399"/>
                  <a:gd name="T9" fmla="*/ 387 h 392"/>
                  <a:gd name="T10" fmla="*/ 173 w 399"/>
                  <a:gd name="T11" fmla="*/ 383 h 392"/>
                  <a:gd name="T12" fmla="*/ 9 w 399"/>
                  <a:gd name="T13" fmla="*/ 219 h 392"/>
                  <a:gd name="T14" fmla="*/ 9 w 399"/>
                  <a:gd name="T15" fmla="*/ 219 h 392"/>
                  <a:gd name="T16" fmla="*/ 5 w 399"/>
                  <a:gd name="T17" fmla="*/ 214 h 392"/>
                  <a:gd name="T18" fmla="*/ 1 w 399"/>
                  <a:gd name="T19" fmla="*/ 207 h 392"/>
                  <a:gd name="T20" fmla="*/ 0 w 399"/>
                  <a:gd name="T21" fmla="*/ 201 h 392"/>
                  <a:gd name="T22" fmla="*/ 0 w 399"/>
                  <a:gd name="T23" fmla="*/ 193 h 392"/>
                  <a:gd name="T24" fmla="*/ 0 w 399"/>
                  <a:gd name="T25" fmla="*/ 193 h 392"/>
                  <a:gd name="T26" fmla="*/ 1 w 399"/>
                  <a:gd name="T27" fmla="*/ 186 h 392"/>
                  <a:gd name="T28" fmla="*/ 4 w 399"/>
                  <a:gd name="T29" fmla="*/ 179 h 392"/>
                  <a:gd name="T30" fmla="*/ 8 w 399"/>
                  <a:gd name="T31" fmla="*/ 174 h 392"/>
                  <a:gd name="T32" fmla="*/ 14 w 399"/>
                  <a:gd name="T33" fmla="*/ 169 h 392"/>
                  <a:gd name="T34" fmla="*/ 248 w 399"/>
                  <a:gd name="T35" fmla="*/ 6 h 392"/>
                  <a:gd name="T36" fmla="*/ 248 w 399"/>
                  <a:gd name="T37" fmla="*/ 6 h 392"/>
                  <a:gd name="T38" fmla="*/ 253 w 399"/>
                  <a:gd name="T39" fmla="*/ 3 h 392"/>
                  <a:gd name="T40" fmla="*/ 259 w 399"/>
                  <a:gd name="T41" fmla="*/ 1 h 392"/>
                  <a:gd name="T42" fmla="*/ 264 w 399"/>
                  <a:gd name="T43" fmla="*/ 0 h 392"/>
                  <a:gd name="T44" fmla="*/ 270 w 399"/>
                  <a:gd name="T45" fmla="*/ 0 h 392"/>
                  <a:gd name="T46" fmla="*/ 275 w 399"/>
                  <a:gd name="T47" fmla="*/ 1 h 392"/>
                  <a:gd name="T48" fmla="*/ 281 w 399"/>
                  <a:gd name="T49" fmla="*/ 3 h 392"/>
                  <a:gd name="T50" fmla="*/ 286 w 399"/>
                  <a:gd name="T51" fmla="*/ 6 h 392"/>
                  <a:gd name="T52" fmla="*/ 290 w 399"/>
                  <a:gd name="T53" fmla="*/ 10 h 392"/>
                  <a:gd name="T54" fmla="*/ 389 w 399"/>
                  <a:gd name="T55" fmla="*/ 110 h 392"/>
                  <a:gd name="T56" fmla="*/ 389 w 399"/>
                  <a:gd name="T57" fmla="*/ 110 h 392"/>
                  <a:gd name="T58" fmla="*/ 393 w 399"/>
                  <a:gd name="T59" fmla="*/ 114 h 392"/>
                  <a:gd name="T60" fmla="*/ 396 w 399"/>
                  <a:gd name="T61" fmla="*/ 119 h 392"/>
                  <a:gd name="T62" fmla="*/ 399 w 399"/>
                  <a:gd name="T63" fmla="*/ 124 h 392"/>
                  <a:gd name="T64" fmla="*/ 399 w 399"/>
                  <a:gd name="T65" fmla="*/ 130 h 392"/>
                  <a:gd name="T66" fmla="*/ 399 w 399"/>
                  <a:gd name="T67" fmla="*/ 135 h 392"/>
                  <a:gd name="T68" fmla="*/ 397 w 399"/>
                  <a:gd name="T69" fmla="*/ 142 h 392"/>
                  <a:gd name="T70" fmla="*/ 395 w 399"/>
                  <a:gd name="T71" fmla="*/ 147 h 392"/>
                  <a:gd name="T72" fmla="*/ 392 w 399"/>
                  <a:gd name="T73" fmla="*/ 152 h 392"/>
                  <a:gd name="T74" fmla="*/ 223 w 399"/>
                  <a:gd name="T75" fmla="*/ 380 h 392"/>
                  <a:gd name="T76" fmla="*/ 223 w 399"/>
                  <a:gd name="T77" fmla="*/ 380 h 392"/>
                  <a:gd name="T78" fmla="*/ 217 w 399"/>
                  <a:gd name="T79" fmla="*/ 385 h 392"/>
                  <a:gd name="T80" fmla="*/ 212 w 399"/>
                  <a:gd name="T81" fmla="*/ 389 h 392"/>
                  <a:gd name="T82" fmla="*/ 206 w 399"/>
                  <a:gd name="T83" fmla="*/ 391 h 392"/>
                  <a:gd name="T84" fmla="*/ 199 w 399"/>
                  <a:gd name="T85" fmla="*/ 392 h 392"/>
                  <a:gd name="T86" fmla="*/ 199 w 399"/>
                  <a:gd name="T87" fmla="*/ 392 h 392"/>
                  <a:gd name="T88" fmla="*/ 197 w 399"/>
                  <a:gd name="T89" fmla="*/ 392 h 392"/>
                  <a:gd name="T90" fmla="*/ 197 w 399"/>
                  <a:gd name="T91" fmla="*/ 392 h 392"/>
                  <a:gd name="T92" fmla="*/ 84 w 399"/>
                  <a:gd name="T93" fmla="*/ 201 h 392"/>
                  <a:gd name="T94" fmla="*/ 193 w 399"/>
                  <a:gd name="T95" fmla="*/ 309 h 392"/>
                  <a:gd name="T96" fmla="*/ 322 w 399"/>
                  <a:gd name="T97" fmla="*/ 135 h 392"/>
                  <a:gd name="T98" fmla="*/ 263 w 399"/>
                  <a:gd name="T99" fmla="*/ 77 h 392"/>
                  <a:gd name="T100" fmla="*/ 84 w 399"/>
                  <a:gd name="T101" fmla="*/ 20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9" h="392">
                    <a:moveTo>
                      <a:pt x="197" y="392"/>
                    </a:moveTo>
                    <a:lnTo>
                      <a:pt x="197" y="392"/>
                    </a:lnTo>
                    <a:lnTo>
                      <a:pt x="189" y="392"/>
                    </a:lnTo>
                    <a:lnTo>
                      <a:pt x="183" y="390"/>
                    </a:lnTo>
                    <a:lnTo>
                      <a:pt x="178" y="387"/>
                    </a:lnTo>
                    <a:lnTo>
                      <a:pt x="173" y="383"/>
                    </a:lnTo>
                    <a:lnTo>
                      <a:pt x="9" y="219"/>
                    </a:lnTo>
                    <a:lnTo>
                      <a:pt x="9" y="219"/>
                    </a:lnTo>
                    <a:lnTo>
                      <a:pt x="5" y="214"/>
                    </a:lnTo>
                    <a:lnTo>
                      <a:pt x="1" y="207"/>
                    </a:lnTo>
                    <a:lnTo>
                      <a:pt x="0" y="201"/>
                    </a:lnTo>
                    <a:lnTo>
                      <a:pt x="0" y="193"/>
                    </a:lnTo>
                    <a:lnTo>
                      <a:pt x="0" y="193"/>
                    </a:lnTo>
                    <a:lnTo>
                      <a:pt x="1" y="186"/>
                    </a:lnTo>
                    <a:lnTo>
                      <a:pt x="4" y="179"/>
                    </a:lnTo>
                    <a:lnTo>
                      <a:pt x="8" y="174"/>
                    </a:lnTo>
                    <a:lnTo>
                      <a:pt x="14" y="169"/>
                    </a:lnTo>
                    <a:lnTo>
                      <a:pt x="248" y="6"/>
                    </a:lnTo>
                    <a:lnTo>
                      <a:pt x="248" y="6"/>
                    </a:lnTo>
                    <a:lnTo>
                      <a:pt x="253" y="3"/>
                    </a:lnTo>
                    <a:lnTo>
                      <a:pt x="259" y="1"/>
                    </a:lnTo>
                    <a:lnTo>
                      <a:pt x="264" y="0"/>
                    </a:lnTo>
                    <a:lnTo>
                      <a:pt x="270" y="0"/>
                    </a:lnTo>
                    <a:lnTo>
                      <a:pt x="275" y="1"/>
                    </a:lnTo>
                    <a:lnTo>
                      <a:pt x="281" y="3"/>
                    </a:lnTo>
                    <a:lnTo>
                      <a:pt x="286" y="6"/>
                    </a:lnTo>
                    <a:lnTo>
                      <a:pt x="290" y="10"/>
                    </a:lnTo>
                    <a:lnTo>
                      <a:pt x="389" y="110"/>
                    </a:lnTo>
                    <a:lnTo>
                      <a:pt x="389" y="110"/>
                    </a:lnTo>
                    <a:lnTo>
                      <a:pt x="393" y="114"/>
                    </a:lnTo>
                    <a:lnTo>
                      <a:pt x="396" y="119"/>
                    </a:lnTo>
                    <a:lnTo>
                      <a:pt x="399" y="124"/>
                    </a:lnTo>
                    <a:lnTo>
                      <a:pt x="399" y="130"/>
                    </a:lnTo>
                    <a:lnTo>
                      <a:pt x="399" y="135"/>
                    </a:lnTo>
                    <a:lnTo>
                      <a:pt x="397" y="142"/>
                    </a:lnTo>
                    <a:lnTo>
                      <a:pt x="395" y="147"/>
                    </a:lnTo>
                    <a:lnTo>
                      <a:pt x="392" y="152"/>
                    </a:lnTo>
                    <a:lnTo>
                      <a:pt x="223" y="380"/>
                    </a:lnTo>
                    <a:lnTo>
                      <a:pt x="223" y="380"/>
                    </a:lnTo>
                    <a:lnTo>
                      <a:pt x="217" y="385"/>
                    </a:lnTo>
                    <a:lnTo>
                      <a:pt x="212" y="389"/>
                    </a:lnTo>
                    <a:lnTo>
                      <a:pt x="206" y="391"/>
                    </a:lnTo>
                    <a:lnTo>
                      <a:pt x="199" y="392"/>
                    </a:lnTo>
                    <a:lnTo>
                      <a:pt x="199" y="392"/>
                    </a:lnTo>
                    <a:lnTo>
                      <a:pt x="197" y="392"/>
                    </a:lnTo>
                    <a:lnTo>
                      <a:pt x="197" y="392"/>
                    </a:lnTo>
                    <a:close/>
                    <a:moveTo>
                      <a:pt x="84" y="201"/>
                    </a:moveTo>
                    <a:lnTo>
                      <a:pt x="193" y="309"/>
                    </a:lnTo>
                    <a:lnTo>
                      <a:pt x="322" y="135"/>
                    </a:lnTo>
                    <a:lnTo>
                      <a:pt x="263" y="77"/>
                    </a:lnTo>
                    <a:lnTo>
                      <a:pt x="84" y="2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US" sz="7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Freeform 48">
                <a:extLst>
                  <a:ext uri="{FF2B5EF4-FFF2-40B4-BE49-F238E27FC236}">
                    <a16:creationId xmlns:a16="http://schemas.microsoft.com/office/drawing/2014/main" id="{0B463F3A-3DB3-8980-9368-9FFA47FF7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5" y="2889250"/>
                <a:ext cx="184150" cy="184150"/>
              </a:xfrm>
              <a:custGeom>
                <a:avLst/>
                <a:gdLst>
                  <a:gd name="T0" fmla="*/ 372 w 811"/>
                  <a:gd name="T1" fmla="*/ 586 h 812"/>
                  <a:gd name="T2" fmla="*/ 290 w 811"/>
                  <a:gd name="T3" fmla="*/ 596 h 812"/>
                  <a:gd name="T4" fmla="*/ 210 w 811"/>
                  <a:gd name="T5" fmla="*/ 583 h 812"/>
                  <a:gd name="T6" fmla="*/ 136 w 811"/>
                  <a:gd name="T7" fmla="*/ 549 h 812"/>
                  <a:gd name="T8" fmla="*/ 87 w 811"/>
                  <a:gd name="T9" fmla="*/ 510 h 812"/>
                  <a:gd name="T10" fmla="*/ 34 w 811"/>
                  <a:gd name="T11" fmla="*/ 438 h 812"/>
                  <a:gd name="T12" fmla="*/ 5 w 811"/>
                  <a:gd name="T13" fmla="*/ 358 h 812"/>
                  <a:gd name="T14" fmla="*/ 1 w 811"/>
                  <a:gd name="T15" fmla="*/ 272 h 812"/>
                  <a:gd name="T16" fmla="*/ 23 w 811"/>
                  <a:gd name="T17" fmla="*/ 186 h 812"/>
                  <a:gd name="T18" fmla="*/ 39 w 811"/>
                  <a:gd name="T19" fmla="*/ 170 h 812"/>
                  <a:gd name="T20" fmla="*/ 62 w 811"/>
                  <a:gd name="T21" fmla="*/ 168 h 812"/>
                  <a:gd name="T22" fmla="*/ 290 w 811"/>
                  <a:gd name="T23" fmla="*/ 293 h 812"/>
                  <a:gd name="T24" fmla="*/ 170 w 811"/>
                  <a:gd name="T25" fmla="*/ 69 h 812"/>
                  <a:gd name="T26" fmla="*/ 167 w 811"/>
                  <a:gd name="T27" fmla="*/ 47 h 812"/>
                  <a:gd name="T28" fmla="*/ 186 w 811"/>
                  <a:gd name="T29" fmla="*/ 24 h 812"/>
                  <a:gd name="T30" fmla="*/ 249 w 811"/>
                  <a:gd name="T31" fmla="*/ 4 h 812"/>
                  <a:gd name="T32" fmla="*/ 335 w 811"/>
                  <a:gd name="T33" fmla="*/ 2 h 812"/>
                  <a:gd name="T34" fmla="*/ 417 w 811"/>
                  <a:gd name="T35" fmla="*/ 25 h 812"/>
                  <a:gd name="T36" fmla="*/ 491 w 811"/>
                  <a:gd name="T37" fmla="*/ 71 h 812"/>
                  <a:gd name="T38" fmla="*/ 535 w 811"/>
                  <a:gd name="T39" fmla="*/ 119 h 812"/>
                  <a:gd name="T40" fmla="*/ 575 w 811"/>
                  <a:gd name="T41" fmla="*/ 190 h 812"/>
                  <a:gd name="T42" fmla="*/ 594 w 811"/>
                  <a:gd name="T43" fmla="*/ 270 h 812"/>
                  <a:gd name="T44" fmla="*/ 590 w 811"/>
                  <a:gd name="T45" fmla="*/ 352 h 812"/>
                  <a:gd name="T46" fmla="*/ 765 w 811"/>
                  <a:gd name="T47" fmla="*/ 671 h 812"/>
                  <a:gd name="T48" fmla="*/ 511 w 811"/>
                  <a:gd name="T49" fmla="*/ 416 h 812"/>
                  <a:gd name="T50" fmla="*/ 508 w 811"/>
                  <a:gd name="T51" fmla="*/ 397 h 812"/>
                  <a:gd name="T52" fmla="*/ 516 w 811"/>
                  <a:gd name="T53" fmla="*/ 371 h 812"/>
                  <a:gd name="T54" fmla="*/ 529 w 811"/>
                  <a:gd name="T55" fmla="*/ 303 h 812"/>
                  <a:gd name="T56" fmla="*/ 521 w 811"/>
                  <a:gd name="T57" fmla="*/ 237 h 812"/>
                  <a:gd name="T58" fmla="*/ 494 w 811"/>
                  <a:gd name="T59" fmla="*/ 175 h 812"/>
                  <a:gd name="T60" fmla="*/ 461 w 811"/>
                  <a:gd name="T61" fmla="*/ 133 h 812"/>
                  <a:gd name="T62" fmla="*/ 416 w 811"/>
                  <a:gd name="T63" fmla="*/ 98 h 812"/>
                  <a:gd name="T64" fmla="*/ 365 w 811"/>
                  <a:gd name="T65" fmla="*/ 76 h 812"/>
                  <a:gd name="T66" fmla="*/ 313 w 811"/>
                  <a:gd name="T67" fmla="*/ 66 h 812"/>
                  <a:gd name="T68" fmla="*/ 258 w 811"/>
                  <a:gd name="T69" fmla="*/ 70 h 812"/>
                  <a:gd name="T70" fmla="*/ 353 w 811"/>
                  <a:gd name="T71" fmla="*/ 182 h 812"/>
                  <a:gd name="T72" fmla="*/ 356 w 811"/>
                  <a:gd name="T73" fmla="*/ 326 h 812"/>
                  <a:gd name="T74" fmla="*/ 346 w 811"/>
                  <a:gd name="T75" fmla="*/ 349 h 812"/>
                  <a:gd name="T76" fmla="*/ 323 w 811"/>
                  <a:gd name="T77" fmla="*/ 359 h 812"/>
                  <a:gd name="T78" fmla="*/ 178 w 811"/>
                  <a:gd name="T79" fmla="*/ 356 h 812"/>
                  <a:gd name="T80" fmla="*/ 70 w 811"/>
                  <a:gd name="T81" fmla="*/ 259 h 812"/>
                  <a:gd name="T82" fmla="*/ 66 w 811"/>
                  <a:gd name="T83" fmla="*/ 314 h 812"/>
                  <a:gd name="T84" fmla="*/ 76 w 811"/>
                  <a:gd name="T85" fmla="*/ 368 h 812"/>
                  <a:gd name="T86" fmla="*/ 98 w 811"/>
                  <a:gd name="T87" fmla="*/ 419 h 812"/>
                  <a:gd name="T88" fmla="*/ 133 w 811"/>
                  <a:gd name="T89" fmla="*/ 463 h 812"/>
                  <a:gd name="T90" fmla="*/ 174 w 811"/>
                  <a:gd name="T91" fmla="*/ 495 h 812"/>
                  <a:gd name="T92" fmla="*/ 236 w 811"/>
                  <a:gd name="T93" fmla="*/ 522 h 812"/>
                  <a:gd name="T94" fmla="*/ 303 w 811"/>
                  <a:gd name="T95" fmla="*/ 529 h 812"/>
                  <a:gd name="T96" fmla="*/ 370 w 811"/>
                  <a:gd name="T97" fmla="*/ 517 h 812"/>
                  <a:gd name="T98" fmla="*/ 397 w 811"/>
                  <a:gd name="T99" fmla="*/ 509 h 812"/>
                  <a:gd name="T100" fmla="*/ 416 w 811"/>
                  <a:gd name="T101" fmla="*/ 512 h 812"/>
                  <a:gd name="T102" fmla="*/ 625 w 811"/>
                  <a:gd name="T103" fmla="*/ 812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11" h="812">
                    <a:moveTo>
                      <a:pt x="625" y="812"/>
                    </a:moveTo>
                    <a:lnTo>
                      <a:pt x="392" y="580"/>
                    </a:lnTo>
                    <a:lnTo>
                      <a:pt x="392" y="580"/>
                    </a:lnTo>
                    <a:lnTo>
                      <a:pt x="372" y="586"/>
                    </a:lnTo>
                    <a:lnTo>
                      <a:pt x="352" y="591"/>
                    </a:lnTo>
                    <a:lnTo>
                      <a:pt x="331" y="594"/>
                    </a:lnTo>
                    <a:lnTo>
                      <a:pt x="310" y="596"/>
                    </a:lnTo>
                    <a:lnTo>
                      <a:pt x="290" y="596"/>
                    </a:lnTo>
                    <a:lnTo>
                      <a:pt x="269" y="595"/>
                    </a:lnTo>
                    <a:lnTo>
                      <a:pt x="249" y="593"/>
                    </a:lnTo>
                    <a:lnTo>
                      <a:pt x="230" y="588"/>
                    </a:lnTo>
                    <a:lnTo>
                      <a:pt x="210" y="583"/>
                    </a:lnTo>
                    <a:lnTo>
                      <a:pt x="190" y="577"/>
                    </a:lnTo>
                    <a:lnTo>
                      <a:pt x="172" y="569"/>
                    </a:lnTo>
                    <a:lnTo>
                      <a:pt x="153" y="559"/>
                    </a:lnTo>
                    <a:lnTo>
                      <a:pt x="136" y="549"/>
                    </a:lnTo>
                    <a:lnTo>
                      <a:pt x="118" y="538"/>
                    </a:lnTo>
                    <a:lnTo>
                      <a:pt x="102" y="524"/>
                    </a:lnTo>
                    <a:lnTo>
                      <a:pt x="87" y="510"/>
                    </a:lnTo>
                    <a:lnTo>
                      <a:pt x="87" y="510"/>
                    </a:lnTo>
                    <a:lnTo>
                      <a:pt x="71" y="493"/>
                    </a:lnTo>
                    <a:lnTo>
                      <a:pt x="58" y="476"/>
                    </a:lnTo>
                    <a:lnTo>
                      <a:pt x="46" y="458"/>
                    </a:lnTo>
                    <a:lnTo>
                      <a:pt x="34" y="438"/>
                    </a:lnTo>
                    <a:lnTo>
                      <a:pt x="25" y="419"/>
                    </a:lnTo>
                    <a:lnTo>
                      <a:pt x="17" y="399"/>
                    </a:lnTo>
                    <a:lnTo>
                      <a:pt x="10" y="379"/>
                    </a:lnTo>
                    <a:lnTo>
                      <a:pt x="5" y="358"/>
                    </a:lnTo>
                    <a:lnTo>
                      <a:pt x="2" y="336"/>
                    </a:lnTo>
                    <a:lnTo>
                      <a:pt x="0" y="314"/>
                    </a:lnTo>
                    <a:lnTo>
                      <a:pt x="0" y="293"/>
                    </a:lnTo>
                    <a:lnTo>
                      <a:pt x="1" y="272"/>
                    </a:lnTo>
                    <a:lnTo>
                      <a:pt x="4" y="250"/>
                    </a:lnTo>
                    <a:lnTo>
                      <a:pt x="9" y="229"/>
                    </a:lnTo>
                    <a:lnTo>
                      <a:pt x="16" y="207"/>
                    </a:lnTo>
                    <a:lnTo>
                      <a:pt x="23" y="186"/>
                    </a:lnTo>
                    <a:lnTo>
                      <a:pt x="23" y="186"/>
                    </a:lnTo>
                    <a:lnTo>
                      <a:pt x="27" y="179"/>
                    </a:lnTo>
                    <a:lnTo>
                      <a:pt x="33" y="174"/>
                    </a:lnTo>
                    <a:lnTo>
                      <a:pt x="39" y="170"/>
                    </a:lnTo>
                    <a:lnTo>
                      <a:pt x="47" y="167"/>
                    </a:lnTo>
                    <a:lnTo>
                      <a:pt x="47" y="167"/>
                    </a:lnTo>
                    <a:lnTo>
                      <a:pt x="55" y="165"/>
                    </a:lnTo>
                    <a:lnTo>
                      <a:pt x="62" y="168"/>
                    </a:lnTo>
                    <a:lnTo>
                      <a:pt x="69" y="170"/>
                    </a:lnTo>
                    <a:lnTo>
                      <a:pt x="77" y="175"/>
                    </a:lnTo>
                    <a:lnTo>
                      <a:pt x="203" y="293"/>
                    </a:lnTo>
                    <a:lnTo>
                      <a:pt x="290" y="293"/>
                    </a:lnTo>
                    <a:lnTo>
                      <a:pt x="290" y="206"/>
                    </a:lnTo>
                    <a:lnTo>
                      <a:pt x="174" y="76"/>
                    </a:lnTo>
                    <a:lnTo>
                      <a:pt x="174" y="76"/>
                    </a:lnTo>
                    <a:lnTo>
                      <a:pt x="170" y="69"/>
                    </a:lnTo>
                    <a:lnTo>
                      <a:pt x="167" y="62"/>
                    </a:lnTo>
                    <a:lnTo>
                      <a:pt x="166" y="55"/>
                    </a:lnTo>
                    <a:lnTo>
                      <a:pt x="167" y="47"/>
                    </a:lnTo>
                    <a:lnTo>
                      <a:pt x="167" y="47"/>
                    </a:lnTo>
                    <a:lnTo>
                      <a:pt x="170" y="39"/>
                    </a:lnTo>
                    <a:lnTo>
                      <a:pt x="174" y="33"/>
                    </a:lnTo>
                    <a:lnTo>
                      <a:pt x="179" y="27"/>
                    </a:lnTo>
                    <a:lnTo>
                      <a:pt x="186" y="24"/>
                    </a:lnTo>
                    <a:lnTo>
                      <a:pt x="186" y="24"/>
                    </a:lnTo>
                    <a:lnTo>
                      <a:pt x="207" y="16"/>
                    </a:lnTo>
                    <a:lnTo>
                      <a:pt x="229" y="9"/>
                    </a:lnTo>
                    <a:lnTo>
                      <a:pt x="249" y="4"/>
                    </a:lnTo>
                    <a:lnTo>
                      <a:pt x="271" y="1"/>
                    </a:lnTo>
                    <a:lnTo>
                      <a:pt x="293" y="0"/>
                    </a:lnTo>
                    <a:lnTo>
                      <a:pt x="314" y="0"/>
                    </a:lnTo>
                    <a:lnTo>
                      <a:pt x="335" y="2"/>
                    </a:lnTo>
                    <a:lnTo>
                      <a:pt x="356" y="5"/>
                    </a:lnTo>
                    <a:lnTo>
                      <a:pt x="377" y="10"/>
                    </a:lnTo>
                    <a:lnTo>
                      <a:pt x="397" y="17"/>
                    </a:lnTo>
                    <a:lnTo>
                      <a:pt x="417" y="25"/>
                    </a:lnTo>
                    <a:lnTo>
                      <a:pt x="437" y="34"/>
                    </a:lnTo>
                    <a:lnTo>
                      <a:pt x="455" y="45"/>
                    </a:lnTo>
                    <a:lnTo>
                      <a:pt x="474" y="58"/>
                    </a:lnTo>
                    <a:lnTo>
                      <a:pt x="491" y="71"/>
                    </a:lnTo>
                    <a:lnTo>
                      <a:pt x="507" y="87"/>
                    </a:lnTo>
                    <a:lnTo>
                      <a:pt x="507" y="87"/>
                    </a:lnTo>
                    <a:lnTo>
                      <a:pt x="522" y="102"/>
                    </a:lnTo>
                    <a:lnTo>
                      <a:pt x="535" y="119"/>
                    </a:lnTo>
                    <a:lnTo>
                      <a:pt x="547" y="136"/>
                    </a:lnTo>
                    <a:lnTo>
                      <a:pt x="558" y="153"/>
                    </a:lnTo>
                    <a:lnTo>
                      <a:pt x="567" y="172"/>
                    </a:lnTo>
                    <a:lnTo>
                      <a:pt x="575" y="190"/>
                    </a:lnTo>
                    <a:lnTo>
                      <a:pt x="582" y="210"/>
                    </a:lnTo>
                    <a:lnTo>
                      <a:pt x="587" y="230"/>
                    </a:lnTo>
                    <a:lnTo>
                      <a:pt x="591" y="249"/>
                    </a:lnTo>
                    <a:lnTo>
                      <a:pt x="594" y="270"/>
                    </a:lnTo>
                    <a:lnTo>
                      <a:pt x="595" y="291"/>
                    </a:lnTo>
                    <a:lnTo>
                      <a:pt x="594" y="310"/>
                    </a:lnTo>
                    <a:lnTo>
                      <a:pt x="593" y="331"/>
                    </a:lnTo>
                    <a:lnTo>
                      <a:pt x="590" y="352"/>
                    </a:lnTo>
                    <a:lnTo>
                      <a:pt x="585" y="372"/>
                    </a:lnTo>
                    <a:lnTo>
                      <a:pt x="580" y="392"/>
                    </a:lnTo>
                    <a:lnTo>
                      <a:pt x="811" y="625"/>
                    </a:lnTo>
                    <a:lnTo>
                      <a:pt x="765" y="671"/>
                    </a:lnTo>
                    <a:lnTo>
                      <a:pt x="517" y="424"/>
                    </a:lnTo>
                    <a:lnTo>
                      <a:pt x="517" y="424"/>
                    </a:lnTo>
                    <a:lnTo>
                      <a:pt x="514" y="420"/>
                    </a:lnTo>
                    <a:lnTo>
                      <a:pt x="511" y="416"/>
                    </a:lnTo>
                    <a:lnTo>
                      <a:pt x="509" y="412"/>
                    </a:lnTo>
                    <a:lnTo>
                      <a:pt x="508" y="406"/>
                    </a:lnTo>
                    <a:lnTo>
                      <a:pt x="507" y="402"/>
                    </a:lnTo>
                    <a:lnTo>
                      <a:pt x="508" y="397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10" y="388"/>
                    </a:lnTo>
                    <a:lnTo>
                      <a:pt x="516" y="371"/>
                    </a:lnTo>
                    <a:lnTo>
                      <a:pt x="522" y="355"/>
                    </a:lnTo>
                    <a:lnTo>
                      <a:pt x="525" y="337"/>
                    </a:lnTo>
                    <a:lnTo>
                      <a:pt x="528" y="321"/>
                    </a:lnTo>
                    <a:lnTo>
                      <a:pt x="529" y="303"/>
                    </a:lnTo>
                    <a:lnTo>
                      <a:pt x="529" y="286"/>
                    </a:lnTo>
                    <a:lnTo>
                      <a:pt x="527" y="270"/>
                    </a:lnTo>
                    <a:lnTo>
                      <a:pt x="525" y="253"/>
                    </a:lnTo>
                    <a:lnTo>
                      <a:pt x="521" y="237"/>
                    </a:lnTo>
                    <a:lnTo>
                      <a:pt x="515" y="220"/>
                    </a:lnTo>
                    <a:lnTo>
                      <a:pt x="509" y="205"/>
                    </a:lnTo>
                    <a:lnTo>
                      <a:pt x="502" y="189"/>
                    </a:lnTo>
                    <a:lnTo>
                      <a:pt x="494" y="175"/>
                    </a:lnTo>
                    <a:lnTo>
                      <a:pt x="483" y="160"/>
                    </a:lnTo>
                    <a:lnTo>
                      <a:pt x="473" y="147"/>
                    </a:lnTo>
                    <a:lnTo>
                      <a:pt x="461" y="133"/>
                    </a:lnTo>
                    <a:lnTo>
                      <a:pt x="461" y="133"/>
                    </a:lnTo>
                    <a:lnTo>
                      <a:pt x="450" y="124"/>
                    </a:lnTo>
                    <a:lnTo>
                      <a:pt x="439" y="115"/>
                    </a:lnTo>
                    <a:lnTo>
                      <a:pt x="427" y="107"/>
                    </a:lnTo>
                    <a:lnTo>
                      <a:pt x="416" y="98"/>
                    </a:lnTo>
                    <a:lnTo>
                      <a:pt x="404" y="91"/>
                    </a:lnTo>
                    <a:lnTo>
                      <a:pt x="391" y="86"/>
                    </a:lnTo>
                    <a:lnTo>
                      <a:pt x="379" y="81"/>
                    </a:lnTo>
                    <a:lnTo>
                      <a:pt x="365" y="76"/>
                    </a:lnTo>
                    <a:lnTo>
                      <a:pt x="353" y="72"/>
                    </a:lnTo>
                    <a:lnTo>
                      <a:pt x="339" y="69"/>
                    </a:lnTo>
                    <a:lnTo>
                      <a:pt x="326" y="67"/>
                    </a:lnTo>
                    <a:lnTo>
                      <a:pt x="313" y="66"/>
                    </a:lnTo>
                    <a:lnTo>
                      <a:pt x="299" y="66"/>
                    </a:lnTo>
                    <a:lnTo>
                      <a:pt x="285" y="66"/>
                    </a:lnTo>
                    <a:lnTo>
                      <a:pt x="271" y="68"/>
                    </a:lnTo>
                    <a:lnTo>
                      <a:pt x="258" y="70"/>
                    </a:lnTo>
                    <a:lnTo>
                      <a:pt x="347" y="172"/>
                    </a:lnTo>
                    <a:lnTo>
                      <a:pt x="347" y="172"/>
                    </a:lnTo>
                    <a:lnTo>
                      <a:pt x="351" y="176"/>
                    </a:lnTo>
                    <a:lnTo>
                      <a:pt x="353" y="182"/>
                    </a:lnTo>
                    <a:lnTo>
                      <a:pt x="355" y="187"/>
                    </a:lnTo>
                    <a:lnTo>
                      <a:pt x="356" y="193"/>
                    </a:lnTo>
                    <a:lnTo>
                      <a:pt x="356" y="326"/>
                    </a:lnTo>
                    <a:lnTo>
                      <a:pt x="356" y="326"/>
                    </a:lnTo>
                    <a:lnTo>
                      <a:pt x="355" y="332"/>
                    </a:lnTo>
                    <a:lnTo>
                      <a:pt x="353" y="338"/>
                    </a:lnTo>
                    <a:lnTo>
                      <a:pt x="350" y="344"/>
                    </a:lnTo>
                    <a:lnTo>
                      <a:pt x="346" y="349"/>
                    </a:lnTo>
                    <a:lnTo>
                      <a:pt x="340" y="353"/>
                    </a:lnTo>
                    <a:lnTo>
                      <a:pt x="335" y="356"/>
                    </a:lnTo>
                    <a:lnTo>
                      <a:pt x="329" y="358"/>
                    </a:lnTo>
                    <a:lnTo>
                      <a:pt x="323" y="359"/>
                    </a:lnTo>
                    <a:lnTo>
                      <a:pt x="190" y="359"/>
                    </a:lnTo>
                    <a:lnTo>
                      <a:pt x="190" y="359"/>
                    </a:lnTo>
                    <a:lnTo>
                      <a:pt x="184" y="358"/>
                    </a:lnTo>
                    <a:lnTo>
                      <a:pt x="178" y="356"/>
                    </a:lnTo>
                    <a:lnTo>
                      <a:pt x="173" y="354"/>
                    </a:lnTo>
                    <a:lnTo>
                      <a:pt x="168" y="350"/>
                    </a:lnTo>
                    <a:lnTo>
                      <a:pt x="70" y="259"/>
                    </a:lnTo>
                    <a:lnTo>
                      <a:pt x="70" y="259"/>
                    </a:lnTo>
                    <a:lnTo>
                      <a:pt x="67" y="273"/>
                    </a:lnTo>
                    <a:lnTo>
                      <a:pt x="66" y="286"/>
                    </a:lnTo>
                    <a:lnTo>
                      <a:pt x="66" y="300"/>
                    </a:lnTo>
                    <a:lnTo>
                      <a:pt x="66" y="314"/>
                    </a:lnTo>
                    <a:lnTo>
                      <a:pt x="67" y="328"/>
                    </a:lnTo>
                    <a:lnTo>
                      <a:pt x="69" y="341"/>
                    </a:lnTo>
                    <a:lnTo>
                      <a:pt x="72" y="355"/>
                    </a:lnTo>
                    <a:lnTo>
                      <a:pt x="76" y="368"/>
                    </a:lnTo>
                    <a:lnTo>
                      <a:pt x="81" y="382"/>
                    </a:lnTo>
                    <a:lnTo>
                      <a:pt x="86" y="394"/>
                    </a:lnTo>
                    <a:lnTo>
                      <a:pt x="92" y="406"/>
                    </a:lnTo>
                    <a:lnTo>
                      <a:pt x="98" y="419"/>
                    </a:lnTo>
                    <a:lnTo>
                      <a:pt x="107" y="430"/>
                    </a:lnTo>
                    <a:lnTo>
                      <a:pt x="115" y="442"/>
                    </a:lnTo>
                    <a:lnTo>
                      <a:pt x="123" y="453"/>
                    </a:lnTo>
                    <a:lnTo>
                      <a:pt x="133" y="463"/>
                    </a:lnTo>
                    <a:lnTo>
                      <a:pt x="133" y="463"/>
                    </a:lnTo>
                    <a:lnTo>
                      <a:pt x="146" y="475"/>
                    </a:lnTo>
                    <a:lnTo>
                      <a:pt x="159" y="486"/>
                    </a:lnTo>
                    <a:lnTo>
                      <a:pt x="174" y="495"/>
                    </a:lnTo>
                    <a:lnTo>
                      <a:pt x="188" y="504"/>
                    </a:lnTo>
                    <a:lnTo>
                      <a:pt x="204" y="511"/>
                    </a:lnTo>
                    <a:lnTo>
                      <a:pt x="219" y="517"/>
                    </a:lnTo>
                    <a:lnTo>
                      <a:pt x="236" y="522"/>
                    </a:lnTo>
                    <a:lnTo>
                      <a:pt x="253" y="526"/>
                    </a:lnTo>
                    <a:lnTo>
                      <a:pt x="269" y="528"/>
                    </a:lnTo>
                    <a:lnTo>
                      <a:pt x="286" y="529"/>
                    </a:lnTo>
                    <a:lnTo>
                      <a:pt x="303" y="529"/>
                    </a:lnTo>
                    <a:lnTo>
                      <a:pt x="320" y="528"/>
                    </a:lnTo>
                    <a:lnTo>
                      <a:pt x="337" y="526"/>
                    </a:lnTo>
                    <a:lnTo>
                      <a:pt x="354" y="522"/>
                    </a:lnTo>
                    <a:lnTo>
                      <a:pt x="370" y="517"/>
                    </a:lnTo>
                    <a:lnTo>
                      <a:pt x="387" y="511"/>
                    </a:lnTo>
                    <a:lnTo>
                      <a:pt x="387" y="511"/>
                    </a:lnTo>
                    <a:lnTo>
                      <a:pt x="392" y="510"/>
                    </a:lnTo>
                    <a:lnTo>
                      <a:pt x="397" y="509"/>
                    </a:lnTo>
                    <a:lnTo>
                      <a:pt x="402" y="509"/>
                    </a:lnTo>
                    <a:lnTo>
                      <a:pt x="407" y="509"/>
                    </a:lnTo>
                    <a:lnTo>
                      <a:pt x="411" y="511"/>
                    </a:lnTo>
                    <a:lnTo>
                      <a:pt x="416" y="512"/>
                    </a:lnTo>
                    <a:lnTo>
                      <a:pt x="420" y="515"/>
                    </a:lnTo>
                    <a:lnTo>
                      <a:pt x="423" y="518"/>
                    </a:lnTo>
                    <a:lnTo>
                      <a:pt x="672" y="765"/>
                    </a:lnTo>
                    <a:lnTo>
                      <a:pt x="625" y="8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US" sz="7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49">
                <a:extLst>
                  <a:ext uri="{FF2B5EF4-FFF2-40B4-BE49-F238E27FC236}">
                    <a16:creationId xmlns:a16="http://schemas.microsoft.com/office/drawing/2014/main" id="{DE453088-BE99-6D99-832A-4C0D4CEBA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563" y="3062288"/>
                <a:ext cx="184150" cy="184150"/>
              </a:xfrm>
              <a:custGeom>
                <a:avLst/>
                <a:gdLst>
                  <a:gd name="T0" fmla="*/ 485 w 812"/>
                  <a:gd name="T1" fmla="*/ 811 h 812"/>
                  <a:gd name="T2" fmla="*/ 428 w 812"/>
                  <a:gd name="T3" fmla="*/ 800 h 812"/>
                  <a:gd name="T4" fmla="*/ 375 w 812"/>
                  <a:gd name="T5" fmla="*/ 778 h 812"/>
                  <a:gd name="T6" fmla="*/ 327 w 812"/>
                  <a:gd name="T7" fmla="*/ 745 h 812"/>
                  <a:gd name="T8" fmla="*/ 290 w 812"/>
                  <a:gd name="T9" fmla="*/ 710 h 812"/>
                  <a:gd name="T10" fmla="*/ 244 w 812"/>
                  <a:gd name="T11" fmla="*/ 640 h 812"/>
                  <a:gd name="T12" fmla="*/ 220 w 812"/>
                  <a:gd name="T13" fmla="*/ 563 h 812"/>
                  <a:gd name="T14" fmla="*/ 219 w 812"/>
                  <a:gd name="T15" fmla="*/ 481 h 812"/>
                  <a:gd name="T16" fmla="*/ 0 w 812"/>
                  <a:gd name="T17" fmla="*/ 187 h 812"/>
                  <a:gd name="T18" fmla="*/ 298 w 812"/>
                  <a:gd name="T19" fmla="*/ 392 h 812"/>
                  <a:gd name="T20" fmla="*/ 304 w 812"/>
                  <a:gd name="T21" fmla="*/ 410 h 812"/>
                  <a:gd name="T22" fmla="*/ 302 w 812"/>
                  <a:gd name="T23" fmla="*/ 424 h 812"/>
                  <a:gd name="T24" fmla="*/ 284 w 812"/>
                  <a:gd name="T25" fmla="*/ 491 h 812"/>
                  <a:gd name="T26" fmla="*/ 287 w 812"/>
                  <a:gd name="T27" fmla="*/ 559 h 812"/>
                  <a:gd name="T28" fmla="*/ 309 w 812"/>
                  <a:gd name="T29" fmla="*/ 623 h 812"/>
                  <a:gd name="T30" fmla="*/ 351 w 812"/>
                  <a:gd name="T31" fmla="*/ 679 h 812"/>
                  <a:gd name="T32" fmla="*/ 384 w 812"/>
                  <a:gd name="T33" fmla="*/ 706 h 812"/>
                  <a:gd name="T34" fmla="*/ 433 w 812"/>
                  <a:gd name="T35" fmla="*/ 731 h 812"/>
                  <a:gd name="T36" fmla="*/ 487 w 812"/>
                  <a:gd name="T37" fmla="*/ 745 h 812"/>
                  <a:gd name="T38" fmla="*/ 543 w 812"/>
                  <a:gd name="T39" fmla="*/ 745 h 812"/>
                  <a:gd name="T40" fmla="*/ 455 w 812"/>
                  <a:gd name="T41" fmla="*/ 636 h 812"/>
                  <a:gd name="T42" fmla="*/ 450 w 812"/>
                  <a:gd name="T43" fmla="*/ 486 h 812"/>
                  <a:gd name="T44" fmla="*/ 456 w 812"/>
                  <a:gd name="T45" fmla="*/ 468 h 812"/>
                  <a:gd name="T46" fmla="*/ 477 w 812"/>
                  <a:gd name="T47" fmla="*/ 454 h 812"/>
                  <a:gd name="T48" fmla="*/ 622 w 812"/>
                  <a:gd name="T49" fmla="*/ 454 h 812"/>
                  <a:gd name="T50" fmla="*/ 742 w 812"/>
                  <a:gd name="T51" fmla="*/ 558 h 812"/>
                  <a:gd name="T52" fmla="*/ 746 w 812"/>
                  <a:gd name="T53" fmla="*/ 516 h 812"/>
                  <a:gd name="T54" fmla="*/ 740 w 812"/>
                  <a:gd name="T55" fmla="*/ 460 h 812"/>
                  <a:gd name="T56" fmla="*/ 720 w 812"/>
                  <a:gd name="T57" fmla="*/ 409 h 812"/>
                  <a:gd name="T58" fmla="*/ 688 w 812"/>
                  <a:gd name="T59" fmla="*/ 362 h 812"/>
                  <a:gd name="T60" fmla="*/ 652 w 812"/>
                  <a:gd name="T61" fmla="*/ 328 h 812"/>
                  <a:gd name="T62" fmla="*/ 592 w 812"/>
                  <a:gd name="T63" fmla="*/ 297 h 812"/>
                  <a:gd name="T64" fmla="*/ 525 w 812"/>
                  <a:gd name="T65" fmla="*/ 284 h 812"/>
                  <a:gd name="T66" fmla="*/ 457 w 812"/>
                  <a:gd name="T67" fmla="*/ 291 h 812"/>
                  <a:gd name="T68" fmla="*/ 420 w 812"/>
                  <a:gd name="T69" fmla="*/ 303 h 812"/>
                  <a:gd name="T70" fmla="*/ 400 w 812"/>
                  <a:gd name="T71" fmla="*/ 303 h 812"/>
                  <a:gd name="T72" fmla="*/ 141 w 812"/>
                  <a:gd name="T73" fmla="*/ 48 h 812"/>
                  <a:gd name="T74" fmla="*/ 440 w 812"/>
                  <a:gd name="T75" fmla="*/ 227 h 812"/>
                  <a:gd name="T76" fmla="*/ 521 w 812"/>
                  <a:gd name="T77" fmla="*/ 217 h 812"/>
                  <a:gd name="T78" fmla="*/ 602 w 812"/>
                  <a:gd name="T79" fmla="*/ 231 h 812"/>
                  <a:gd name="T80" fmla="*/ 676 w 812"/>
                  <a:gd name="T81" fmla="*/ 265 h 812"/>
                  <a:gd name="T82" fmla="*/ 725 w 812"/>
                  <a:gd name="T83" fmla="*/ 304 h 812"/>
                  <a:gd name="T84" fmla="*/ 778 w 812"/>
                  <a:gd name="T85" fmla="*/ 376 h 812"/>
                  <a:gd name="T86" fmla="*/ 807 w 812"/>
                  <a:gd name="T87" fmla="*/ 458 h 812"/>
                  <a:gd name="T88" fmla="*/ 811 w 812"/>
                  <a:gd name="T89" fmla="*/ 544 h 812"/>
                  <a:gd name="T90" fmla="*/ 788 w 812"/>
                  <a:gd name="T91" fmla="*/ 631 h 812"/>
                  <a:gd name="T92" fmla="*/ 773 w 812"/>
                  <a:gd name="T93" fmla="*/ 648 h 812"/>
                  <a:gd name="T94" fmla="*/ 749 w 812"/>
                  <a:gd name="T95" fmla="*/ 650 h 812"/>
                  <a:gd name="T96" fmla="*/ 516 w 812"/>
                  <a:gd name="T97" fmla="*/ 519 h 812"/>
                  <a:gd name="T98" fmla="*/ 647 w 812"/>
                  <a:gd name="T99" fmla="*/ 742 h 812"/>
                  <a:gd name="T100" fmla="*/ 650 w 812"/>
                  <a:gd name="T101" fmla="*/ 764 h 812"/>
                  <a:gd name="T102" fmla="*/ 631 w 812"/>
                  <a:gd name="T103" fmla="*/ 788 h 812"/>
                  <a:gd name="T104" fmla="*/ 588 w 812"/>
                  <a:gd name="T105" fmla="*/ 803 h 812"/>
                  <a:gd name="T106" fmla="*/ 529 w 812"/>
                  <a:gd name="T107" fmla="*/ 812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12" h="812">
                    <a:moveTo>
                      <a:pt x="514" y="812"/>
                    </a:moveTo>
                    <a:lnTo>
                      <a:pt x="514" y="812"/>
                    </a:lnTo>
                    <a:lnTo>
                      <a:pt x="500" y="812"/>
                    </a:lnTo>
                    <a:lnTo>
                      <a:pt x="485" y="811"/>
                    </a:lnTo>
                    <a:lnTo>
                      <a:pt x="471" y="809"/>
                    </a:lnTo>
                    <a:lnTo>
                      <a:pt x="456" y="807"/>
                    </a:lnTo>
                    <a:lnTo>
                      <a:pt x="443" y="804"/>
                    </a:lnTo>
                    <a:lnTo>
                      <a:pt x="428" y="800"/>
                    </a:lnTo>
                    <a:lnTo>
                      <a:pt x="415" y="795"/>
                    </a:lnTo>
                    <a:lnTo>
                      <a:pt x="401" y="790"/>
                    </a:lnTo>
                    <a:lnTo>
                      <a:pt x="388" y="784"/>
                    </a:lnTo>
                    <a:lnTo>
                      <a:pt x="375" y="778"/>
                    </a:lnTo>
                    <a:lnTo>
                      <a:pt x="363" y="771"/>
                    </a:lnTo>
                    <a:lnTo>
                      <a:pt x="351" y="762"/>
                    </a:lnTo>
                    <a:lnTo>
                      <a:pt x="338" y="754"/>
                    </a:lnTo>
                    <a:lnTo>
                      <a:pt x="327" y="745"/>
                    </a:lnTo>
                    <a:lnTo>
                      <a:pt x="315" y="735"/>
                    </a:lnTo>
                    <a:lnTo>
                      <a:pt x="304" y="725"/>
                    </a:lnTo>
                    <a:lnTo>
                      <a:pt x="304" y="725"/>
                    </a:lnTo>
                    <a:lnTo>
                      <a:pt x="290" y="710"/>
                    </a:lnTo>
                    <a:lnTo>
                      <a:pt x="276" y="693"/>
                    </a:lnTo>
                    <a:lnTo>
                      <a:pt x="265" y="677"/>
                    </a:lnTo>
                    <a:lnTo>
                      <a:pt x="253" y="658"/>
                    </a:lnTo>
                    <a:lnTo>
                      <a:pt x="244" y="640"/>
                    </a:lnTo>
                    <a:lnTo>
                      <a:pt x="237" y="622"/>
                    </a:lnTo>
                    <a:lnTo>
                      <a:pt x="230" y="602"/>
                    </a:lnTo>
                    <a:lnTo>
                      <a:pt x="224" y="582"/>
                    </a:lnTo>
                    <a:lnTo>
                      <a:pt x="220" y="563"/>
                    </a:lnTo>
                    <a:lnTo>
                      <a:pt x="218" y="542"/>
                    </a:lnTo>
                    <a:lnTo>
                      <a:pt x="217" y="521"/>
                    </a:lnTo>
                    <a:lnTo>
                      <a:pt x="217" y="502"/>
                    </a:lnTo>
                    <a:lnTo>
                      <a:pt x="219" y="481"/>
                    </a:lnTo>
                    <a:lnTo>
                      <a:pt x="222" y="460"/>
                    </a:lnTo>
                    <a:lnTo>
                      <a:pt x="226" y="440"/>
                    </a:lnTo>
                    <a:lnTo>
                      <a:pt x="233" y="420"/>
                    </a:lnTo>
                    <a:lnTo>
                      <a:pt x="0" y="187"/>
                    </a:lnTo>
                    <a:lnTo>
                      <a:pt x="46" y="141"/>
                    </a:lnTo>
                    <a:lnTo>
                      <a:pt x="295" y="388"/>
                    </a:lnTo>
                    <a:lnTo>
                      <a:pt x="295" y="388"/>
                    </a:lnTo>
                    <a:lnTo>
                      <a:pt x="298" y="392"/>
                    </a:lnTo>
                    <a:lnTo>
                      <a:pt x="300" y="396"/>
                    </a:lnTo>
                    <a:lnTo>
                      <a:pt x="302" y="400"/>
                    </a:lnTo>
                    <a:lnTo>
                      <a:pt x="303" y="406"/>
                    </a:lnTo>
                    <a:lnTo>
                      <a:pt x="304" y="410"/>
                    </a:lnTo>
                    <a:lnTo>
                      <a:pt x="304" y="415"/>
                    </a:lnTo>
                    <a:lnTo>
                      <a:pt x="303" y="420"/>
                    </a:lnTo>
                    <a:lnTo>
                      <a:pt x="302" y="424"/>
                    </a:lnTo>
                    <a:lnTo>
                      <a:pt x="302" y="424"/>
                    </a:lnTo>
                    <a:lnTo>
                      <a:pt x="295" y="441"/>
                    </a:lnTo>
                    <a:lnTo>
                      <a:pt x="291" y="458"/>
                    </a:lnTo>
                    <a:lnTo>
                      <a:pt x="286" y="475"/>
                    </a:lnTo>
                    <a:lnTo>
                      <a:pt x="284" y="491"/>
                    </a:lnTo>
                    <a:lnTo>
                      <a:pt x="283" y="509"/>
                    </a:lnTo>
                    <a:lnTo>
                      <a:pt x="283" y="526"/>
                    </a:lnTo>
                    <a:lnTo>
                      <a:pt x="284" y="542"/>
                    </a:lnTo>
                    <a:lnTo>
                      <a:pt x="287" y="559"/>
                    </a:lnTo>
                    <a:lnTo>
                      <a:pt x="291" y="575"/>
                    </a:lnTo>
                    <a:lnTo>
                      <a:pt x="296" y="592"/>
                    </a:lnTo>
                    <a:lnTo>
                      <a:pt x="302" y="607"/>
                    </a:lnTo>
                    <a:lnTo>
                      <a:pt x="309" y="623"/>
                    </a:lnTo>
                    <a:lnTo>
                      <a:pt x="319" y="637"/>
                    </a:lnTo>
                    <a:lnTo>
                      <a:pt x="328" y="652"/>
                    </a:lnTo>
                    <a:lnTo>
                      <a:pt x="339" y="665"/>
                    </a:lnTo>
                    <a:lnTo>
                      <a:pt x="351" y="679"/>
                    </a:lnTo>
                    <a:lnTo>
                      <a:pt x="351" y="679"/>
                    </a:lnTo>
                    <a:lnTo>
                      <a:pt x="361" y="688"/>
                    </a:lnTo>
                    <a:lnTo>
                      <a:pt x="372" y="697"/>
                    </a:lnTo>
                    <a:lnTo>
                      <a:pt x="384" y="706"/>
                    </a:lnTo>
                    <a:lnTo>
                      <a:pt x="396" y="714"/>
                    </a:lnTo>
                    <a:lnTo>
                      <a:pt x="408" y="720"/>
                    </a:lnTo>
                    <a:lnTo>
                      <a:pt x="421" y="726"/>
                    </a:lnTo>
                    <a:lnTo>
                      <a:pt x="433" y="731"/>
                    </a:lnTo>
                    <a:lnTo>
                      <a:pt x="447" y="737"/>
                    </a:lnTo>
                    <a:lnTo>
                      <a:pt x="460" y="740"/>
                    </a:lnTo>
                    <a:lnTo>
                      <a:pt x="474" y="743"/>
                    </a:lnTo>
                    <a:lnTo>
                      <a:pt x="487" y="745"/>
                    </a:lnTo>
                    <a:lnTo>
                      <a:pt x="501" y="746"/>
                    </a:lnTo>
                    <a:lnTo>
                      <a:pt x="515" y="746"/>
                    </a:lnTo>
                    <a:lnTo>
                      <a:pt x="529" y="746"/>
                    </a:lnTo>
                    <a:lnTo>
                      <a:pt x="543" y="745"/>
                    </a:lnTo>
                    <a:lnTo>
                      <a:pt x="557" y="743"/>
                    </a:lnTo>
                    <a:lnTo>
                      <a:pt x="459" y="641"/>
                    </a:lnTo>
                    <a:lnTo>
                      <a:pt x="459" y="641"/>
                    </a:lnTo>
                    <a:lnTo>
                      <a:pt x="455" y="636"/>
                    </a:lnTo>
                    <a:lnTo>
                      <a:pt x="453" y="631"/>
                    </a:lnTo>
                    <a:lnTo>
                      <a:pt x="451" y="625"/>
                    </a:lnTo>
                    <a:lnTo>
                      <a:pt x="450" y="619"/>
                    </a:lnTo>
                    <a:lnTo>
                      <a:pt x="450" y="486"/>
                    </a:lnTo>
                    <a:lnTo>
                      <a:pt x="450" y="486"/>
                    </a:lnTo>
                    <a:lnTo>
                      <a:pt x="451" y="480"/>
                    </a:lnTo>
                    <a:lnTo>
                      <a:pt x="453" y="474"/>
                    </a:lnTo>
                    <a:lnTo>
                      <a:pt x="456" y="468"/>
                    </a:lnTo>
                    <a:lnTo>
                      <a:pt x="460" y="464"/>
                    </a:lnTo>
                    <a:lnTo>
                      <a:pt x="464" y="459"/>
                    </a:lnTo>
                    <a:lnTo>
                      <a:pt x="471" y="456"/>
                    </a:lnTo>
                    <a:lnTo>
                      <a:pt x="477" y="454"/>
                    </a:lnTo>
                    <a:lnTo>
                      <a:pt x="483" y="453"/>
                    </a:lnTo>
                    <a:lnTo>
                      <a:pt x="616" y="453"/>
                    </a:lnTo>
                    <a:lnTo>
                      <a:pt x="616" y="453"/>
                    </a:lnTo>
                    <a:lnTo>
                      <a:pt x="622" y="454"/>
                    </a:lnTo>
                    <a:lnTo>
                      <a:pt x="628" y="455"/>
                    </a:lnTo>
                    <a:lnTo>
                      <a:pt x="633" y="458"/>
                    </a:lnTo>
                    <a:lnTo>
                      <a:pt x="638" y="462"/>
                    </a:lnTo>
                    <a:lnTo>
                      <a:pt x="742" y="558"/>
                    </a:lnTo>
                    <a:lnTo>
                      <a:pt x="742" y="558"/>
                    </a:lnTo>
                    <a:lnTo>
                      <a:pt x="744" y="544"/>
                    </a:lnTo>
                    <a:lnTo>
                      <a:pt x="746" y="530"/>
                    </a:lnTo>
                    <a:lnTo>
                      <a:pt x="746" y="516"/>
                    </a:lnTo>
                    <a:lnTo>
                      <a:pt x="746" y="502"/>
                    </a:lnTo>
                    <a:lnTo>
                      <a:pt x="745" y="488"/>
                    </a:lnTo>
                    <a:lnTo>
                      <a:pt x="743" y="475"/>
                    </a:lnTo>
                    <a:lnTo>
                      <a:pt x="740" y="460"/>
                    </a:lnTo>
                    <a:lnTo>
                      <a:pt x="736" y="448"/>
                    </a:lnTo>
                    <a:lnTo>
                      <a:pt x="731" y="435"/>
                    </a:lnTo>
                    <a:lnTo>
                      <a:pt x="726" y="421"/>
                    </a:lnTo>
                    <a:lnTo>
                      <a:pt x="720" y="409"/>
                    </a:lnTo>
                    <a:lnTo>
                      <a:pt x="714" y="396"/>
                    </a:lnTo>
                    <a:lnTo>
                      <a:pt x="706" y="385"/>
                    </a:lnTo>
                    <a:lnTo>
                      <a:pt x="697" y="373"/>
                    </a:lnTo>
                    <a:lnTo>
                      <a:pt x="688" y="362"/>
                    </a:lnTo>
                    <a:lnTo>
                      <a:pt x="679" y="352"/>
                    </a:lnTo>
                    <a:lnTo>
                      <a:pt x="679" y="352"/>
                    </a:lnTo>
                    <a:lnTo>
                      <a:pt x="665" y="339"/>
                    </a:lnTo>
                    <a:lnTo>
                      <a:pt x="652" y="328"/>
                    </a:lnTo>
                    <a:lnTo>
                      <a:pt x="637" y="319"/>
                    </a:lnTo>
                    <a:lnTo>
                      <a:pt x="623" y="310"/>
                    </a:lnTo>
                    <a:lnTo>
                      <a:pt x="607" y="303"/>
                    </a:lnTo>
                    <a:lnTo>
                      <a:pt x="592" y="297"/>
                    </a:lnTo>
                    <a:lnTo>
                      <a:pt x="575" y="292"/>
                    </a:lnTo>
                    <a:lnTo>
                      <a:pt x="559" y="288"/>
                    </a:lnTo>
                    <a:lnTo>
                      <a:pt x="542" y="285"/>
                    </a:lnTo>
                    <a:lnTo>
                      <a:pt x="525" y="284"/>
                    </a:lnTo>
                    <a:lnTo>
                      <a:pt x="508" y="284"/>
                    </a:lnTo>
                    <a:lnTo>
                      <a:pt x="491" y="285"/>
                    </a:lnTo>
                    <a:lnTo>
                      <a:pt x="475" y="287"/>
                    </a:lnTo>
                    <a:lnTo>
                      <a:pt x="457" y="291"/>
                    </a:lnTo>
                    <a:lnTo>
                      <a:pt x="441" y="296"/>
                    </a:lnTo>
                    <a:lnTo>
                      <a:pt x="424" y="302"/>
                    </a:lnTo>
                    <a:lnTo>
                      <a:pt x="424" y="302"/>
                    </a:lnTo>
                    <a:lnTo>
                      <a:pt x="420" y="303"/>
                    </a:lnTo>
                    <a:lnTo>
                      <a:pt x="415" y="304"/>
                    </a:lnTo>
                    <a:lnTo>
                      <a:pt x="410" y="304"/>
                    </a:lnTo>
                    <a:lnTo>
                      <a:pt x="405" y="304"/>
                    </a:lnTo>
                    <a:lnTo>
                      <a:pt x="400" y="303"/>
                    </a:lnTo>
                    <a:lnTo>
                      <a:pt x="396" y="301"/>
                    </a:lnTo>
                    <a:lnTo>
                      <a:pt x="392" y="298"/>
                    </a:lnTo>
                    <a:lnTo>
                      <a:pt x="388" y="295"/>
                    </a:lnTo>
                    <a:lnTo>
                      <a:pt x="141" y="48"/>
                    </a:lnTo>
                    <a:lnTo>
                      <a:pt x="187" y="0"/>
                    </a:lnTo>
                    <a:lnTo>
                      <a:pt x="420" y="233"/>
                    </a:lnTo>
                    <a:lnTo>
                      <a:pt x="420" y="233"/>
                    </a:lnTo>
                    <a:lnTo>
                      <a:pt x="440" y="227"/>
                    </a:lnTo>
                    <a:lnTo>
                      <a:pt x="460" y="223"/>
                    </a:lnTo>
                    <a:lnTo>
                      <a:pt x="481" y="219"/>
                    </a:lnTo>
                    <a:lnTo>
                      <a:pt x="501" y="217"/>
                    </a:lnTo>
                    <a:lnTo>
                      <a:pt x="521" y="217"/>
                    </a:lnTo>
                    <a:lnTo>
                      <a:pt x="542" y="218"/>
                    </a:lnTo>
                    <a:lnTo>
                      <a:pt x="562" y="222"/>
                    </a:lnTo>
                    <a:lnTo>
                      <a:pt x="582" y="225"/>
                    </a:lnTo>
                    <a:lnTo>
                      <a:pt x="602" y="231"/>
                    </a:lnTo>
                    <a:lnTo>
                      <a:pt x="621" y="237"/>
                    </a:lnTo>
                    <a:lnTo>
                      <a:pt x="640" y="245"/>
                    </a:lnTo>
                    <a:lnTo>
                      <a:pt x="658" y="255"/>
                    </a:lnTo>
                    <a:lnTo>
                      <a:pt x="676" y="265"/>
                    </a:lnTo>
                    <a:lnTo>
                      <a:pt x="693" y="277"/>
                    </a:lnTo>
                    <a:lnTo>
                      <a:pt x="710" y="290"/>
                    </a:lnTo>
                    <a:lnTo>
                      <a:pt x="725" y="304"/>
                    </a:lnTo>
                    <a:lnTo>
                      <a:pt x="725" y="304"/>
                    </a:lnTo>
                    <a:lnTo>
                      <a:pt x="741" y="321"/>
                    </a:lnTo>
                    <a:lnTo>
                      <a:pt x="754" y="338"/>
                    </a:lnTo>
                    <a:lnTo>
                      <a:pt x="767" y="357"/>
                    </a:lnTo>
                    <a:lnTo>
                      <a:pt x="778" y="376"/>
                    </a:lnTo>
                    <a:lnTo>
                      <a:pt x="787" y="395"/>
                    </a:lnTo>
                    <a:lnTo>
                      <a:pt x="796" y="416"/>
                    </a:lnTo>
                    <a:lnTo>
                      <a:pt x="802" y="437"/>
                    </a:lnTo>
                    <a:lnTo>
                      <a:pt x="807" y="458"/>
                    </a:lnTo>
                    <a:lnTo>
                      <a:pt x="810" y="479"/>
                    </a:lnTo>
                    <a:lnTo>
                      <a:pt x="812" y="501"/>
                    </a:lnTo>
                    <a:lnTo>
                      <a:pt x="812" y="522"/>
                    </a:lnTo>
                    <a:lnTo>
                      <a:pt x="811" y="544"/>
                    </a:lnTo>
                    <a:lnTo>
                      <a:pt x="808" y="566"/>
                    </a:lnTo>
                    <a:lnTo>
                      <a:pt x="803" y="588"/>
                    </a:lnTo>
                    <a:lnTo>
                      <a:pt x="797" y="609"/>
                    </a:lnTo>
                    <a:lnTo>
                      <a:pt x="788" y="631"/>
                    </a:lnTo>
                    <a:lnTo>
                      <a:pt x="788" y="631"/>
                    </a:lnTo>
                    <a:lnTo>
                      <a:pt x="784" y="637"/>
                    </a:lnTo>
                    <a:lnTo>
                      <a:pt x="779" y="643"/>
                    </a:lnTo>
                    <a:lnTo>
                      <a:pt x="773" y="648"/>
                    </a:lnTo>
                    <a:lnTo>
                      <a:pt x="765" y="651"/>
                    </a:lnTo>
                    <a:lnTo>
                      <a:pt x="765" y="651"/>
                    </a:lnTo>
                    <a:lnTo>
                      <a:pt x="757" y="651"/>
                    </a:lnTo>
                    <a:lnTo>
                      <a:pt x="749" y="650"/>
                    </a:lnTo>
                    <a:lnTo>
                      <a:pt x="742" y="647"/>
                    </a:lnTo>
                    <a:lnTo>
                      <a:pt x="736" y="642"/>
                    </a:lnTo>
                    <a:lnTo>
                      <a:pt x="602" y="519"/>
                    </a:lnTo>
                    <a:lnTo>
                      <a:pt x="516" y="519"/>
                    </a:lnTo>
                    <a:lnTo>
                      <a:pt x="516" y="605"/>
                    </a:lnTo>
                    <a:lnTo>
                      <a:pt x="641" y="735"/>
                    </a:lnTo>
                    <a:lnTo>
                      <a:pt x="641" y="735"/>
                    </a:lnTo>
                    <a:lnTo>
                      <a:pt x="647" y="742"/>
                    </a:lnTo>
                    <a:lnTo>
                      <a:pt x="650" y="749"/>
                    </a:lnTo>
                    <a:lnTo>
                      <a:pt x="651" y="757"/>
                    </a:lnTo>
                    <a:lnTo>
                      <a:pt x="650" y="764"/>
                    </a:lnTo>
                    <a:lnTo>
                      <a:pt x="650" y="764"/>
                    </a:lnTo>
                    <a:lnTo>
                      <a:pt x="648" y="773"/>
                    </a:lnTo>
                    <a:lnTo>
                      <a:pt x="643" y="779"/>
                    </a:lnTo>
                    <a:lnTo>
                      <a:pt x="637" y="784"/>
                    </a:lnTo>
                    <a:lnTo>
                      <a:pt x="631" y="788"/>
                    </a:lnTo>
                    <a:lnTo>
                      <a:pt x="631" y="788"/>
                    </a:lnTo>
                    <a:lnTo>
                      <a:pt x="617" y="794"/>
                    </a:lnTo>
                    <a:lnTo>
                      <a:pt x="602" y="799"/>
                    </a:lnTo>
                    <a:lnTo>
                      <a:pt x="588" y="803"/>
                    </a:lnTo>
                    <a:lnTo>
                      <a:pt x="573" y="807"/>
                    </a:lnTo>
                    <a:lnTo>
                      <a:pt x="559" y="809"/>
                    </a:lnTo>
                    <a:lnTo>
                      <a:pt x="543" y="811"/>
                    </a:lnTo>
                    <a:lnTo>
                      <a:pt x="529" y="812"/>
                    </a:lnTo>
                    <a:lnTo>
                      <a:pt x="514" y="812"/>
                    </a:lnTo>
                    <a:lnTo>
                      <a:pt x="514" y="8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US" sz="700" ker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F72761A5-9A16-8045-30BB-9F32EAF9E90C}"/>
                </a:ext>
              </a:extLst>
            </p:cNvPr>
            <p:cNvSpPr txBox="1"/>
            <p:nvPr/>
          </p:nvSpPr>
          <p:spPr>
            <a:xfrm>
              <a:off x="6778466" y="2828359"/>
              <a:ext cx="325042" cy="13849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 defTabSz="457200" rtl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VP</a:t>
              </a:r>
              <a:endParaRPr lang="en-US" sz="500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7" name="Graphic 96" descr="Construction worker male outline">
              <a:extLst>
                <a:ext uri="{FF2B5EF4-FFF2-40B4-BE49-F238E27FC236}">
                  <a16:creationId xmlns:a16="http://schemas.microsoft.com/office/drawing/2014/main" id="{C94FC0AC-D538-84AD-2B28-E5565AD94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228588" y="5143547"/>
              <a:ext cx="457200" cy="457200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F3D8E08-FEC2-9A37-E20F-9261EC9B61F8}"/>
              </a:ext>
            </a:extLst>
          </p:cNvPr>
          <p:cNvSpPr txBox="1"/>
          <p:nvPr/>
        </p:nvSpPr>
        <p:spPr>
          <a:xfrm>
            <a:off x="2595380" y="4901485"/>
            <a:ext cx="2994412" cy="3351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rtl="1">
              <a:lnSpc>
                <a:spcPct val="150000"/>
              </a:lnSpc>
              <a:defRPr/>
            </a:pPr>
            <a:r>
              <a:rPr lang="en-US" sz="1200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200" b="1" dirty="0">
                <a:solidFill>
                  <a:srgbClr val="1342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Software developer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115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7F60DC6B-049A-D597-09AE-2E6405E144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987" y="6162758"/>
            <a:ext cx="1641417" cy="390318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ED62CEDF-90B2-8DAA-9392-298FF1AB793D}"/>
              </a:ext>
            </a:extLst>
          </p:cNvPr>
          <p:cNvSpPr/>
          <p:nvPr/>
        </p:nvSpPr>
        <p:spPr>
          <a:xfrm>
            <a:off x="1188720" y="1043562"/>
            <a:ext cx="10094976" cy="122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B2A3683-72B9-7F84-FC9A-450ACB111691}"/>
              </a:ext>
            </a:extLst>
          </p:cNvPr>
          <p:cNvSpPr/>
          <p:nvPr/>
        </p:nvSpPr>
        <p:spPr>
          <a:xfrm>
            <a:off x="1169" y="1254699"/>
            <a:ext cx="12192000" cy="45597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7" name="Rectangle: Top Corners Rounded 36">
            <a:extLst>
              <a:ext uri="{FF2B5EF4-FFF2-40B4-BE49-F238E27FC236}">
                <a16:creationId xmlns:a16="http://schemas.microsoft.com/office/drawing/2014/main" id="{EFAE9E36-DE0E-CAC2-43F0-5613CA075F34}"/>
              </a:ext>
            </a:extLst>
          </p:cNvPr>
          <p:cNvSpPr/>
          <p:nvPr/>
        </p:nvSpPr>
        <p:spPr>
          <a:xfrm>
            <a:off x="568052" y="997863"/>
            <a:ext cx="11038365" cy="806696"/>
          </a:xfrm>
          <a:prstGeom prst="round2SameRect">
            <a:avLst>
              <a:gd name="adj1" fmla="val 13910"/>
              <a:gd name="adj2" fmla="val 0"/>
            </a:avLst>
          </a:prstGeom>
          <a:solidFill>
            <a:srgbClr val="134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FCA28D4B-5BC0-8A95-4C8A-71DC249D4239}"/>
              </a:ext>
            </a:extLst>
          </p:cNvPr>
          <p:cNvSpPr/>
          <p:nvPr/>
        </p:nvSpPr>
        <p:spPr>
          <a:xfrm>
            <a:off x="568052" y="1397526"/>
            <a:ext cx="11060234" cy="4622405"/>
          </a:xfrm>
          <a:prstGeom prst="roundRect">
            <a:avLst>
              <a:gd name="adj" fmla="val 4778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203200" dist="38100" dir="2700000" algn="tl" rotWithShape="0">
              <a:prstClr val="black">
                <a:alpha val="19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B7520FB-761F-0059-A676-59C31FB5A167}"/>
              </a:ext>
            </a:extLst>
          </p:cNvPr>
          <p:cNvSpPr txBox="1"/>
          <p:nvPr/>
        </p:nvSpPr>
        <p:spPr>
          <a:xfrm>
            <a:off x="820537" y="1025812"/>
            <a:ext cx="1061716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Roboto Condensed"/>
                <a:cs typeface="Arial" panose="020B0604020202020204" pitchFamily="34" charset="0"/>
              </a:rPr>
              <a:t>Core principles of the Professional Accreditation Framework</a:t>
            </a:r>
            <a:endParaRPr kumimoji="0" lang="ar-SA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Roboto Condensed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C2F39018-A1B8-D02D-43E8-A23574BB90B9}"/>
              </a:ext>
            </a:extLst>
          </p:cNvPr>
          <p:cNvSpPr txBox="1">
            <a:spLocks/>
          </p:cNvSpPr>
          <p:nvPr/>
        </p:nvSpPr>
        <p:spPr>
          <a:xfrm>
            <a:off x="1188719" y="322190"/>
            <a:ext cx="6215381" cy="62211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i="0" kern="1200">
                <a:solidFill>
                  <a:srgbClr val="2E2A83"/>
                </a:solidFill>
                <a:latin typeface="TT Norms Bold" panose="02000503030000020003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3200" b="1" i="0" kern="1200">
                <a:solidFill>
                  <a:schemeClr val="tx1"/>
                </a:solidFill>
                <a:latin typeface="TT Norms Bold" panose="02000503030000020003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spcBef>
                <a:spcPct val="0"/>
              </a:spcBef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1. </a:t>
            </a:r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Accreditation</a:t>
            </a:r>
            <a:r>
              <a:rPr lang="en-US" sz="24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O</a:t>
            </a:r>
            <a:r>
              <a:rPr lang="en-US" sz="2400" b="1" kern="1200" dirty="0">
                <a:solidFill>
                  <a:srgbClr val="158284"/>
                </a:solidFill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verview</a:t>
            </a:r>
            <a:endParaRPr kumimoji="0" lang="ar-SA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2" name="Round Same Side Corner Rectangle 11">
            <a:extLst>
              <a:ext uri="{FF2B5EF4-FFF2-40B4-BE49-F238E27FC236}">
                <a16:creationId xmlns:a16="http://schemas.microsoft.com/office/drawing/2014/main" id="{62EF0F55-BD1B-B26C-162C-B587C494263A}"/>
              </a:ext>
            </a:extLst>
          </p:cNvPr>
          <p:cNvSpPr/>
          <p:nvPr/>
        </p:nvSpPr>
        <p:spPr>
          <a:xfrm>
            <a:off x="1188719" y="1745205"/>
            <a:ext cx="4290821" cy="1820054"/>
          </a:xfrm>
          <a:prstGeom prst="roundRect">
            <a:avLst>
              <a:gd name="adj" fmla="val 2879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ound Same Side Corner Rectangle 11">
            <a:extLst>
              <a:ext uri="{FF2B5EF4-FFF2-40B4-BE49-F238E27FC236}">
                <a16:creationId xmlns:a16="http://schemas.microsoft.com/office/drawing/2014/main" id="{644CC5F7-2055-F354-0202-D5242AAA6654}"/>
              </a:ext>
            </a:extLst>
          </p:cNvPr>
          <p:cNvSpPr/>
          <p:nvPr/>
        </p:nvSpPr>
        <p:spPr>
          <a:xfrm>
            <a:off x="1188719" y="3800324"/>
            <a:ext cx="4290821" cy="1820054"/>
          </a:xfrm>
          <a:prstGeom prst="roundRect">
            <a:avLst>
              <a:gd name="adj" fmla="val 2879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ound Same Side Corner Rectangle 11">
            <a:extLst>
              <a:ext uri="{FF2B5EF4-FFF2-40B4-BE49-F238E27FC236}">
                <a16:creationId xmlns:a16="http://schemas.microsoft.com/office/drawing/2014/main" id="{EB9CB7E1-3027-6F4A-5CC6-C82BA5B37D58}"/>
              </a:ext>
            </a:extLst>
          </p:cNvPr>
          <p:cNvSpPr/>
          <p:nvPr/>
        </p:nvSpPr>
        <p:spPr>
          <a:xfrm>
            <a:off x="6614262" y="1745205"/>
            <a:ext cx="4290821" cy="1820054"/>
          </a:xfrm>
          <a:prstGeom prst="roundRect">
            <a:avLst>
              <a:gd name="adj" fmla="val 2879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ound Same Side Corner Rectangle 11">
            <a:extLst>
              <a:ext uri="{FF2B5EF4-FFF2-40B4-BE49-F238E27FC236}">
                <a16:creationId xmlns:a16="http://schemas.microsoft.com/office/drawing/2014/main" id="{F80A0EC1-DA8C-71E8-879F-0733594EF919}"/>
              </a:ext>
            </a:extLst>
          </p:cNvPr>
          <p:cNvSpPr/>
          <p:nvPr/>
        </p:nvSpPr>
        <p:spPr>
          <a:xfrm>
            <a:off x="6614262" y="3800324"/>
            <a:ext cx="4290821" cy="1820054"/>
          </a:xfrm>
          <a:prstGeom prst="roundRect">
            <a:avLst>
              <a:gd name="adj" fmla="val 2879"/>
            </a:avLst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>
            <a:outerShdw blurRad="88900" sx="101000" sy="101000" algn="ctr" rotWithShape="0">
              <a:prstClr val="black">
                <a:alpha val="5000"/>
              </a:prstClr>
            </a:outerShdw>
          </a:effectLst>
        </p:spPr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1638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34258"/>
              </a:solidFill>
              <a:effectLst/>
              <a:highlight>
                <a:srgbClr val="FFFFFF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209E26B-EE7F-7E08-7C76-B230E2B965DC}"/>
              </a:ext>
            </a:extLst>
          </p:cNvPr>
          <p:cNvSpPr/>
          <p:nvPr/>
        </p:nvSpPr>
        <p:spPr>
          <a:xfrm>
            <a:off x="5114271" y="2818300"/>
            <a:ext cx="1711803" cy="1671646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rgbClr val="FFFFFF"/>
            </a:solidFill>
            <a:prstDash val="solid"/>
            <a:miter lim="800000"/>
          </a:ln>
          <a:effectLst>
            <a:outerShdw blurRad="76200" dist="38100" dir="2700000" algn="tl" rotWithShape="0">
              <a:prstClr val="black">
                <a:alpha val="14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FB11F0-7ECC-EA21-91BB-DE8C1A79F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0882" y="3211955"/>
            <a:ext cx="1178582" cy="96429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EDF0BE-71F7-39B2-D037-CB0AA6E4F285}"/>
              </a:ext>
            </a:extLst>
          </p:cNvPr>
          <p:cNvSpPr txBox="1"/>
          <p:nvPr/>
        </p:nvSpPr>
        <p:spPr>
          <a:xfrm>
            <a:off x="2287268" y="1844653"/>
            <a:ext cx="23243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stainability</a:t>
            </a:r>
            <a:endParaRPr kumimoji="0" lang="ar-SA" sz="2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4D1F32-0003-6439-C100-AC11C1F5386C}"/>
              </a:ext>
            </a:extLst>
          </p:cNvPr>
          <p:cNvSpPr txBox="1"/>
          <p:nvPr/>
        </p:nvSpPr>
        <p:spPr>
          <a:xfrm>
            <a:off x="2287268" y="3921689"/>
            <a:ext cx="23243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mplicity </a:t>
            </a:r>
            <a:endParaRPr kumimoji="0" lang="ar-SA" sz="2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7875C14-C8BE-CA9D-A5C8-2C324E62BFE2}"/>
              </a:ext>
            </a:extLst>
          </p:cNvPr>
          <p:cNvSpPr txBox="1"/>
          <p:nvPr/>
        </p:nvSpPr>
        <p:spPr>
          <a:xfrm>
            <a:off x="7466340" y="1844653"/>
            <a:ext cx="23243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lexibility</a:t>
            </a:r>
            <a:endParaRPr kumimoji="0" lang="ar-SA" sz="2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115D67-F5B1-1E30-0A30-CA4C695B7E03}"/>
              </a:ext>
            </a:extLst>
          </p:cNvPr>
          <p:cNvSpPr txBox="1"/>
          <p:nvPr/>
        </p:nvSpPr>
        <p:spPr>
          <a:xfrm>
            <a:off x="7466340" y="3913222"/>
            <a:ext cx="23243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ansparency</a:t>
            </a:r>
            <a:endParaRPr kumimoji="0" lang="ar-SA" sz="20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B7609A-56F9-CE61-9DE7-B64369F3D129}"/>
              </a:ext>
            </a:extLst>
          </p:cNvPr>
          <p:cNvSpPr txBox="1"/>
          <p:nvPr/>
        </p:nvSpPr>
        <p:spPr>
          <a:xfrm>
            <a:off x="1395434" y="2241310"/>
            <a:ext cx="3689112" cy="1227427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Incorporation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best global practic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Alignme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with government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regula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Effective governan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and continuous develop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6D1B0C-2EEB-EB20-0B84-1A05ABE7EA44}"/>
              </a:ext>
            </a:extLst>
          </p:cNvPr>
          <p:cNvSpPr txBox="1"/>
          <p:nvPr/>
        </p:nvSpPr>
        <p:spPr>
          <a:xfrm>
            <a:off x="6924573" y="2241310"/>
            <a:ext cx="3863141" cy="1227427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Consideration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academic certificates, experiences, and prior learning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as different methods of verification</a:t>
            </a:r>
          </a:p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Provision of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multiple languag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for test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894128-2B70-907A-B268-B365413670E1}"/>
              </a:ext>
            </a:extLst>
          </p:cNvPr>
          <p:cNvSpPr txBox="1"/>
          <p:nvPr/>
        </p:nvSpPr>
        <p:spPr>
          <a:xfrm>
            <a:off x="1395434" y="4348684"/>
            <a:ext cx="3689112" cy="1227427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Worldwide applic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for qualifications verification</a:t>
            </a:r>
          </a:p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Test Center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availabiliti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 in variou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states and cit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EEC0842-0EA2-7067-78CE-4C699B70061C}"/>
              </a:ext>
            </a:extLst>
          </p:cNvPr>
          <p:cNvSpPr txBox="1"/>
          <p:nvPr/>
        </p:nvSpPr>
        <p:spPr>
          <a:xfrm>
            <a:off x="6924573" y="4348684"/>
            <a:ext cx="3980510" cy="1227427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Online platform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for application and tracking</a:t>
            </a:r>
          </a:p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Candidates have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right to appeal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if they believe the verification results are inaccurate</a:t>
            </a:r>
          </a:p>
          <a:p>
            <a:pPr marL="285750" indent="-28575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Result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inquiry servi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 panose="020B0603020203020204" pitchFamily="34" charset="0"/>
              </a:rPr>
              <a:t>is available upon request</a:t>
            </a:r>
          </a:p>
        </p:txBody>
      </p:sp>
    </p:spTree>
    <p:extLst>
      <p:ext uri="{BB962C8B-B14F-4D97-AF65-F5344CB8AC3E}">
        <p14:creationId xmlns:p14="http://schemas.microsoft.com/office/powerpoint/2010/main" val="419890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Data 7">
            <a:extLst>
              <a:ext uri="{FF2B5EF4-FFF2-40B4-BE49-F238E27FC236}">
                <a16:creationId xmlns:a16="http://schemas.microsoft.com/office/drawing/2014/main" id="{314D2263-763A-D9D3-3A9A-181B2F058285}"/>
              </a:ext>
            </a:extLst>
          </p:cNvPr>
          <p:cNvSpPr/>
          <p:nvPr/>
        </p:nvSpPr>
        <p:spPr>
          <a:xfrm>
            <a:off x="854034" y="3897390"/>
            <a:ext cx="666379" cy="635506"/>
          </a:xfrm>
          <a:prstGeom prst="flowChartInputOutpu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32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E5BC577-784B-BB35-3437-91D1892EB7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9790" y="3897390"/>
            <a:ext cx="8696802" cy="635506"/>
          </a:xfrm>
        </p:spPr>
        <p:txBody>
          <a:bodyPr/>
          <a:lstStyle/>
          <a:p>
            <a:pPr algn="l" defTabSz="1828800">
              <a:lnSpc>
                <a:spcPct val="100000"/>
              </a:lnSpc>
              <a:spcBef>
                <a:spcPts val="0"/>
              </a:spcBef>
              <a:defRPr/>
            </a:pPr>
            <a:r>
              <a:rPr lang="fr-FR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lifications </a:t>
            </a:r>
            <a:r>
              <a:rPr lang="en-US" sz="2800" b="1" dirty="0">
                <a:solidFill>
                  <a:srgbClr val="15828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rification Program </a:t>
            </a:r>
            <a:endParaRPr lang="ar-SA" sz="2800" b="1" kern="1200" noProof="0" dirty="0">
              <a:solidFill>
                <a:srgbClr val="15828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262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partment_POWER_USER_SEPARATOR_ICONS_buildings_POWER_USER_SEPARATOR_ICONS_city_POWER_USER_SEPARATOR_ICONS_house_POWER_USER_SEPARATOR_ICONS_real-esta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34258"/>
      </a:accent1>
      <a:accent2>
        <a:srgbClr val="158284"/>
      </a:accent2>
      <a:accent3>
        <a:srgbClr val="2BB473"/>
      </a:accent3>
      <a:accent4>
        <a:srgbClr val="FCB613"/>
      </a:accent4>
      <a:accent5>
        <a:srgbClr val="F7931D"/>
      </a:accent5>
      <a:accent6>
        <a:srgbClr val="158284"/>
      </a:accent6>
      <a:hlink>
        <a:srgbClr val="0563C1"/>
      </a:hlink>
      <a:folHlink>
        <a:srgbClr val="954F72"/>
      </a:folHlink>
    </a:clrScheme>
    <a:fontScheme name="Custom 1">
      <a:majorFont>
        <a:latin typeface="HRSD Title"/>
        <a:ea typeface=""/>
        <a:cs typeface="HRSD"/>
      </a:majorFont>
      <a:minorFont>
        <a:latin typeface="HRSD Medium"/>
        <a:ea typeface=""/>
        <a:cs typeface="HRSD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marL="0" algn="ctr" defTabSz="914400" eaLnBrk="1" latinLnBrk="0" hangingPunct="1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91440" tIns="45720" rIns="91440" bIns="45720" rtlCol="0">
        <a:noAutofit/>
      </a:bodyPr>
      <a:lstStyle>
        <a:defPPr algn="l">
          <a:spcBef>
            <a:spcPts val="0"/>
          </a:spcBef>
          <a:defRPr kumimoji="0" sz="800" b="0" i="0" u="none" strike="noStrike" kern="1200" cap="none" spc="0" normalizeH="0" baseline="0" noProof="0" dirty="0">
            <a:ln>
              <a:noFill/>
            </a:ln>
            <a:solidFill>
              <a:prstClr val="black">
                <a:lumMod val="65000"/>
                <a:lumOff val="35000"/>
              </a:prstClr>
            </a:solidFill>
            <a:effectLst/>
            <a:uLnTx/>
            <a:uFillTx/>
            <a:latin typeface="Effra" panose="020B0603020203020204" pitchFamily="34" charset="0"/>
            <a:cs typeface="Effra" panose="020B0603020203020204" pitchFamily="34" charset="0"/>
            <a:sym typeface="Effra" panose="020B0603020203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34258"/>
      </a:accent1>
      <a:accent2>
        <a:srgbClr val="158284"/>
      </a:accent2>
      <a:accent3>
        <a:srgbClr val="2BB473"/>
      </a:accent3>
      <a:accent4>
        <a:srgbClr val="FCB613"/>
      </a:accent4>
      <a:accent5>
        <a:srgbClr val="F7931D"/>
      </a:accent5>
      <a:accent6>
        <a:srgbClr val="158284"/>
      </a:accent6>
      <a:hlink>
        <a:srgbClr val="0563C1"/>
      </a:hlink>
      <a:folHlink>
        <a:srgbClr val="954F72"/>
      </a:folHlink>
    </a:clrScheme>
    <a:fontScheme name="Custom 1">
      <a:majorFont>
        <a:latin typeface="29LT Bukra SemiBold"/>
        <a:ea typeface=""/>
        <a:cs typeface="29LT Bukra SemiBold"/>
      </a:majorFont>
      <a:minorFont>
        <a:latin typeface="Effra Regular"/>
        <a:ea typeface=""/>
        <a:cs typeface="Effra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marL="0" algn="ctr" defTabSz="914400" rtl="1" eaLnBrk="1" latinLnBrk="0" hangingPunct="1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noAutofit/>
      </a:bodyPr>
      <a:lstStyle>
        <a:defPPr marL="0" algn="r" defTabSz="914400" rtl="1" eaLnBrk="1" latinLnBrk="0" hangingPunct="1"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34258"/>
      </a:accent1>
      <a:accent2>
        <a:srgbClr val="158284"/>
      </a:accent2>
      <a:accent3>
        <a:srgbClr val="2BB473"/>
      </a:accent3>
      <a:accent4>
        <a:srgbClr val="FCB613"/>
      </a:accent4>
      <a:accent5>
        <a:srgbClr val="F7931D"/>
      </a:accent5>
      <a:accent6>
        <a:srgbClr val="158284"/>
      </a:accent6>
      <a:hlink>
        <a:srgbClr val="0563C1"/>
      </a:hlink>
      <a:folHlink>
        <a:srgbClr val="954F72"/>
      </a:folHlink>
    </a:clrScheme>
    <a:fontScheme name="Custom 1">
      <a:majorFont>
        <a:latin typeface="29LT Bukra SemiBold"/>
        <a:ea typeface=""/>
        <a:cs typeface="29LT Bukra SemiBold"/>
      </a:majorFont>
      <a:minorFont>
        <a:latin typeface="Effra Regular"/>
        <a:ea typeface=""/>
        <a:cs typeface="Effra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marL="0" algn="ctr" defTabSz="914400" rtl="1" eaLnBrk="1" latinLnBrk="0" hangingPunct="1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noAutofit/>
      </a:bodyPr>
      <a:lstStyle>
        <a:defPPr marL="0" algn="r" defTabSz="914400" rtl="1" eaLnBrk="1" latinLnBrk="0" hangingPunct="1"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AJ">
  <a:themeElements>
    <a:clrScheme name="Takamol M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58284"/>
      </a:accent1>
      <a:accent2>
        <a:srgbClr val="2BB473"/>
      </a:accent2>
      <a:accent3>
        <a:srgbClr val="F7931D"/>
      </a:accent3>
      <a:accent4>
        <a:srgbClr val="FCB613"/>
      </a:accent4>
      <a:accent5>
        <a:srgbClr val="852B22"/>
      </a:accent5>
      <a:accent6>
        <a:srgbClr val="85580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F0548B8E049F4DAD6D160D765E2517" ma:contentTypeVersion="18" ma:contentTypeDescription="Create a new document." ma:contentTypeScope="" ma:versionID="6de502e9f01a49384dd985ef729d2c57">
  <xsd:schema xmlns:xsd="http://www.w3.org/2001/XMLSchema" xmlns:xs="http://www.w3.org/2001/XMLSchema" xmlns:p="http://schemas.microsoft.com/office/2006/metadata/properties" xmlns:ns2="9c5ce764-7a4c-466b-89c4-9a79c5851734" xmlns:ns3="60fc92ac-3678-474e-9065-60ca1640b13c" xmlns:ns4="e5adc142-b758-475a-bd47-f248f95c5842" targetNamespace="http://schemas.microsoft.com/office/2006/metadata/properties" ma:root="true" ma:fieldsID="154d0efc41d8b3489cf71fb038fbc5e8" ns2:_="" ns3:_="" ns4:_="">
    <xsd:import namespace="9c5ce764-7a4c-466b-89c4-9a79c5851734"/>
    <xsd:import namespace="60fc92ac-3678-474e-9065-60ca1640b13c"/>
    <xsd:import namespace="e5adc142-b758-475a-bd47-f248f95c584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5ce764-7a4c-466b-89c4-9a79c585173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9566f3f-d283-40bd-9875-add0371fc2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fc92ac-3678-474e-9065-60ca1640b13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adc142-b758-475a-bd47-f248f95c584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13804d56-7fd8-4504-8621-0f61fdcae9eb}" ma:internalName="TaxCatchAll" ma:showField="CatchAllData" ma:web="e5adc142-b758-475a-bd47-f248f95c584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0fc92ac-3678-474e-9065-60ca1640b13c">
      <UserInfo>
        <DisplayName>Mohammed AlKhrashi</DisplayName>
        <AccountId>5378</AccountId>
        <AccountType/>
      </UserInfo>
      <UserInfo>
        <DisplayName>Lulu AlRubaian</DisplayName>
        <AccountId>2706</AccountId>
        <AccountType/>
      </UserInfo>
    </SharedWithUsers>
    <TaxCatchAll xmlns="e5adc142-b758-475a-bd47-f248f95c5842" xsi:nil="true"/>
    <lcf76f155ced4ddcb4097134ff3c332f xmlns="9c5ce764-7a4c-466b-89c4-9a79c585173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BA2903D-20FE-4FD5-9F78-59A7511752B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DDD0327-6B4C-4AAF-9A45-499656E5FA42}">
  <ds:schemaRefs>
    <ds:schemaRef ds:uri="60fc92ac-3678-474e-9065-60ca1640b13c"/>
    <ds:schemaRef ds:uri="9c5ce764-7a4c-466b-89c4-9a79c5851734"/>
    <ds:schemaRef ds:uri="e5adc142-b758-475a-bd47-f248f95c584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3437F52-9C98-46A7-BDD8-84D572609ECC}">
  <ds:schemaRefs>
    <ds:schemaRef ds:uri="http://purl.org/dc/dcmitype/"/>
    <ds:schemaRef ds:uri="http://schemas.microsoft.com/office/2006/metadata/properties"/>
    <ds:schemaRef ds:uri="e5adc142-b758-475a-bd47-f248f95c5842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60fc92ac-3678-474e-9065-60ca1640b13c"/>
    <ds:schemaRef ds:uri="9c5ce764-7a4c-466b-89c4-9a79c585173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331</TotalTime>
  <Words>1636</Words>
  <Application>Microsoft Office PowerPoint</Application>
  <PresentationFormat>Widescreen</PresentationFormat>
  <Paragraphs>366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1" baseType="lpstr">
      <vt:lpstr>Effra Regular</vt:lpstr>
      <vt:lpstr>TT Norms Bold</vt:lpstr>
      <vt:lpstr>HRSD</vt:lpstr>
      <vt:lpstr>Sakkal Majalla</vt:lpstr>
      <vt:lpstr>Calibri</vt:lpstr>
      <vt:lpstr>Greta Arabic</vt:lpstr>
      <vt:lpstr>Greta Arabic Light</vt:lpstr>
      <vt:lpstr>29LT Bukra Regular</vt:lpstr>
      <vt:lpstr>Symbio AR+LT</vt:lpstr>
      <vt:lpstr>Effra</vt:lpstr>
      <vt:lpstr>Arial</vt:lpstr>
      <vt:lpstr>4_Office Theme</vt:lpstr>
      <vt:lpstr>3_Office Theme</vt:lpstr>
      <vt:lpstr>5_Office Theme</vt:lpstr>
      <vt:lpstr>AJ</vt:lpstr>
      <vt:lpstr>think-cell Slide</vt:lpstr>
      <vt:lpstr>PowerPoint Presentation</vt:lpstr>
      <vt:lpstr>PowerPoint Presentation</vt:lpstr>
      <vt:lpstr>Professional Accreditation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alifications Verification Program </vt:lpstr>
      <vt:lpstr>PowerPoint Presentation</vt:lpstr>
      <vt:lpstr>PowerPoint Presentation</vt:lpstr>
      <vt:lpstr>PowerPoint Presentation</vt:lpstr>
      <vt:lpstr>PowerPoint Presentation</vt:lpstr>
      <vt:lpstr>Skills Verification Program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munication and Awareness</vt:lpstr>
      <vt:lpstr>PowerPoint Presentation</vt:lpstr>
      <vt:lpstr>Current Status and Next steps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atasem Alsaif (HRSD)</dc:creator>
  <cp:lastModifiedBy>Mohammed AlKhrashi</cp:lastModifiedBy>
  <cp:revision>187</cp:revision>
  <cp:lastPrinted>2023-02-20T11:43:04Z</cp:lastPrinted>
  <dcterms:created xsi:type="dcterms:W3CDTF">2023-02-16T09:40:14Z</dcterms:created>
  <dcterms:modified xsi:type="dcterms:W3CDTF">2024-02-04T10:0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cebf2f5-dee6-403f-8a2a-296d92d3ce27_Enabled">
    <vt:lpwstr>true</vt:lpwstr>
  </property>
  <property fmtid="{D5CDD505-2E9C-101B-9397-08002B2CF9AE}" pid="3" name="MSIP_Label_5cebf2f5-dee6-403f-8a2a-296d92d3ce27_SetDate">
    <vt:lpwstr>2023-02-20T12:28:34Z</vt:lpwstr>
  </property>
  <property fmtid="{D5CDD505-2E9C-101B-9397-08002B2CF9AE}" pid="4" name="MSIP_Label_5cebf2f5-dee6-403f-8a2a-296d92d3ce27_Method">
    <vt:lpwstr>Standard</vt:lpwstr>
  </property>
  <property fmtid="{D5CDD505-2E9C-101B-9397-08002B2CF9AE}" pid="5" name="MSIP_Label_5cebf2f5-dee6-403f-8a2a-296d92d3ce27_Name">
    <vt:lpwstr>Internal</vt:lpwstr>
  </property>
  <property fmtid="{D5CDD505-2E9C-101B-9397-08002B2CF9AE}" pid="6" name="MSIP_Label_5cebf2f5-dee6-403f-8a2a-296d92d3ce27_SiteId">
    <vt:lpwstr>7c65bb51-39b0-4cd9-bcdd-b68d86af1a8c</vt:lpwstr>
  </property>
  <property fmtid="{D5CDD505-2E9C-101B-9397-08002B2CF9AE}" pid="7" name="MSIP_Label_5cebf2f5-dee6-403f-8a2a-296d92d3ce27_ActionId">
    <vt:lpwstr>124d3531-53ad-43ca-92d6-7fae8bf3754f</vt:lpwstr>
  </property>
  <property fmtid="{D5CDD505-2E9C-101B-9397-08002B2CF9AE}" pid="8" name="MSIP_Label_5cebf2f5-dee6-403f-8a2a-296d92d3ce27_ContentBits">
    <vt:lpwstr>3</vt:lpwstr>
  </property>
  <property fmtid="{D5CDD505-2E9C-101B-9397-08002B2CF9AE}" pid="9" name="ContentTypeId">
    <vt:lpwstr>0x010100FAF0548B8E049F4DAD6D160D765E2517</vt:lpwstr>
  </property>
  <property fmtid="{D5CDD505-2E9C-101B-9397-08002B2CF9AE}" pid="10" name="MediaServiceImageTags">
    <vt:lpwstr/>
  </property>
  <property fmtid="{D5CDD505-2E9C-101B-9397-08002B2CF9AE}" pid="11" name="MSIP_Label_7c2d8cc8-1968-4b16-b7f9-dc1c10367db7_Enabled">
    <vt:lpwstr>true</vt:lpwstr>
  </property>
  <property fmtid="{D5CDD505-2E9C-101B-9397-08002B2CF9AE}" pid="12" name="MSIP_Label_7c2d8cc8-1968-4b16-b7f9-dc1c10367db7_SetDate">
    <vt:lpwstr>2023-07-09T14:38:44Z</vt:lpwstr>
  </property>
  <property fmtid="{D5CDD505-2E9C-101B-9397-08002B2CF9AE}" pid="13" name="MSIP_Label_7c2d8cc8-1968-4b16-b7f9-dc1c10367db7_Method">
    <vt:lpwstr>Standard</vt:lpwstr>
  </property>
  <property fmtid="{D5CDD505-2E9C-101B-9397-08002B2CF9AE}" pid="14" name="MSIP_Label_7c2d8cc8-1968-4b16-b7f9-dc1c10367db7_Name">
    <vt:lpwstr>Restricted</vt:lpwstr>
  </property>
  <property fmtid="{D5CDD505-2E9C-101B-9397-08002B2CF9AE}" pid="15" name="MSIP_Label_7c2d8cc8-1968-4b16-b7f9-dc1c10367db7_SiteId">
    <vt:lpwstr>4d2b561f-f7d2-42b0-9cc9-f19a6ed279d0</vt:lpwstr>
  </property>
  <property fmtid="{D5CDD505-2E9C-101B-9397-08002B2CF9AE}" pid="16" name="MSIP_Label_7c2d8cc8-1968-4b16-b7f9-dc1c10367db7_ActionId">
    <vt:lpwstr>ef156eb7-826e-407b-be73-b598dd34e370</vt:lpwstr>
  </property>
  <property fmtid="{D5CDD505-2E9C-101B-9397-08002B2CF9AE}" pid="17" name="MSIP_Label_7c2d8cc8-1968-4b16-b7f9-dc1c10367db7_ContentBits">
    <vt:lpwstr>1</vt:lpwstr>
  </property>
  <property fmtid="{D5CDD505-2E9C-101B-9397-08002B2CF9AE}" pid="18" name="ClassificationContentMarkingHeaderLocations">
    <vt:lpwstr>1_Office Theme:5\4_Office Theme:5\2_Office Theme:8\3_Office Theme:8</vt:lpwstr>
  </property>
  <property fmtid="{D5CDD505-2E9C-101B-9397-08002B2CF9AE}" pid="19" name="ClassificationContentMarkingHeaderText">
    <vt:lpwstr>Classification : Restricted</vt:lpwstr>
  </property>
</Properties>
</file>